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145706272" r:id="rId5"/>
    <p:sldId id="2145706506" r:id="rId6"/>
    <p:sldId id="2145706507" r:id="rId7"/>
    <p:sldId id="2145706508" r:id="rId8"/>
    <p:sldId id="2145706483" r:id="rId9"/>
    <p:sldId id="2145706493" r:id="rId10"/>
    <p:sldId id="4702" r:id="rId11"/>
    <p:sldId id="4703" r:id="rId12"/>
    <p:sldId id="2145706503" r:id="rId13"/>
    <p:sldId id="2145706505" r:id="rId14"/>
    <p:sldId id="2145706500" r:id="rId15"/>
    <p:sldId id="2145706504" r:id="rId16"/>
    <p:sldId id="2145706501" r:id="rId17"/>
    <p:sldId id="4704" r:id="rId18"/>
    <p:sldId id="4705" r:id="rId19"/>
    <p:sldId id="2145706494" r:id="rId20"/>
    <p:sldId id="4707" r:id="rId21"/>
    <p:sldId id="2145706488" r:id="rId22"/>
    <p:sldId id="2145706491" r:id="rId23"/>
    <p:sldId id="2145706492" r:id="rId24"/>
    <p:sldId id="2145706495" r:id="rId25"/>
    <p:sldId id="2145706496" r:id="rId26"/>
    <p:sldId id="2145706497" r:id="rId27"/>
    <p:sldId id="2145706498" r:id="rId28"/>
    <p:sldId id="2145706499" r:id="rId29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9041C6-C80D-48A6-BF87-7B5E27045A31}" v="221" dt="2024-08-20T11:59:31.0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230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sv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sv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9.png"/><Relationship Id="rId11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1.sv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microsoft.com/office/2007/relationships/hdphoto" Target="../media/hdphoto3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microsoft.com/office/2007/relationships/hdphoto" Target="../media/hdphoto3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28.png"/><Relationship Id="rId5" Type="http://schemas.openxmlformats.org/officeDocument/2006/relationships/image" Target="../media/image29.png"/><Relationship Id="rId4" Type="http://schemas.openxmlformats.org/officeDocument/2006/relationships/image" Target="../media/image2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30.jpeg"/><Relationship Id="rId4" Type="http://schemas.openxmlformats.org/officeDocument/2006/relationships/image" Target="../media/image26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26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12" Type="http://schemas.openxmlformats.org/officeDocument/2006/relationships/image" Target="../media/image18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3.jpeg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microsoft.com/office/2007/relationships/hdphoto" Target="../media/hdphoto1.wdp"/><Relationship Id="rId4" Type="http://schemas.openxmlformats.org/officeDocument/2006/relationships/oleObject" Target="../embeddings/oleObject9.bin"/><Relationship Id="rId9" Type="http://schemas.openxmlformats.org/officeDocument/2006/relationships/image" Target="../media/image16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0.sv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E23BC0-2C2A-44C8-9457-00F9ADF82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73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E23BC0-2C2A-44C8-9457-00F9ADF82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2B4B872-15D1-46C2-825D-7C7D592779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5" name="Picture 4" descr="A picture containing electronics, circuit&#10;&#10;Description automatically generated">
            <a:extLst>
              <a:ext uri="{FF2B5EF4-FFF2-40B4-BE49-F238E27FC236}">
                <a16:creationId xmlns:a16="http://schemas.microsoft.com/office/drawing/2014/main" id="{0075E86A-D956-43CC-9EF5-FFB23778E7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15" y="2981143"/>
            <a:ext cx="5881913" cy="1231106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6315" y="4355352"/>
            <a:ext cx="5881913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1206E42D-8B9B-4A3D-BC73-4A6949225D1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46315" y="215052"/>
            <a:ext cx="3810000" cy="685800"/>
          </a:xfrm>
          <a:prstGeom prst="rect">
            <a:avLst/>
          </a:prstGeom>
        </p:spPr>
      </p:pic>
      <p:pic>
        <p:nvPicPr>
          <p:cNvPr id="20" name="Picture 19" descr="A picture containing drawing&#10;&#10;Description automatically generated">
            <a:extLst>
              <a:ext uri="{FF2B5EF4-FFF2-40B4-BE49-F238E27FC236}">
                <a16:creationId xmlns:a16="http://schemas.microsoft.com/office/drawing/2014/main" id="{C0C8860A-3844-4014-988E-28766F9B6D3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315" y="1761309"/>
            <a:ext cx="2616199" cy="986680"/>
          </a:xfrm>
          <a:prstGeom prst="rect">
            <a:avLst/>
          </a:prstGeom>
        </p:spPr>
      </p:pic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381D83E3-3050-4502-9DBB-21D23A2DE1DA}"/>
              </a:ext>
            </a:extLst>
          </p:cNvPr>
          <p:cNvSpPr/>
          <p:nvPr userDrawn="1"/>
        </p:nvSpPr>
        <p:spPr>
          <a:xfrm>
            <a:off x="7242628" y="957518"/>
            <a:ext cx="4227285" cy="494296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17" descr="A person working on his computer&#10;&#10;Description automatically generated with medium confidence">
            <a:extLst>
              <a:ext uri="{FF2B5EF4-FFF2-40B4-BE49-F238E27FC236}">
                <a16:creationId xmlns:a16="http://schemas.microsoft.com/office/drawing/2014/main" id="{ECE0D7AF-D038-45C1-AE1C-96B81658B7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78537" y="1350296"/>
            <a:ext cx="3555468" cy="4157408"/>
          </a:xfrm>
          <a:custGeom>
            <a:avLst/>
            <a:gdLst>
              <a:gd name="connsiteX0" fmla="*/ 1777734 w 3555468"/>
              <a:gd name="connsiteY0" fmla="*/ 0 h 4157408"/>
              <a:gd name="connsiteX1" fmla="*/ 3555468 w 3555468"/>
              <a:gd name="connsiteY1" fmla="*/ 1777734 h 4157408"/>
              <a:gd name="connsiteX2" fmla="*/ 3555467 w 3555468"/>
              <a:gd name="connsiteY2" fmla="*/ 4157408 h 4157408"/>
              <a:gd name="connsiteX3" fmla="*/ 0 w 3555468"/>
              <a:gd name="connsiteY3" fmla="*/ 4157408 h 4157408"/>
              <a:gd name="connsiteX4" fmla="*/ 0 w 3555468"/>
              <a:gd name="connsiteY4" fmla="*/ 1777734 h 4157408"/>
              <a:gd name="connsiteX5" fmla="*/ 1777734 w 3555468"/>
              <a:gd name="connsiteY5" fmla="*/ 0 h 4157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5468" h="4157408">
                <a:moveTo>
                  <a:pt x="1777734" y="0"/>
                </a:moveTo>
                <a:cubicBezTo>
                  <a:pt x="2759549" y="0"/>
                  <a:pt x="3555468" y="795919"/>
                  <a:pt x="3555468" y="1777734"/>
                </a:cubicBezTo>
                <a:cubicBezTo>
                  <a:pt x="3555468" y="2570959"/>
                  <a:pt x="3555467" y="3364183"/>
                  <a:pt x="3555467" y="4157408"/>
                </a:cubicBezTo>
                <a:lnTo>
                  <a:pt x="0" y="4157408"/>
                </a:lnTo>
                <a:lnTo>
                  <a:pt x="0" y="1777734"/>
                </a:lnTo>
                <a:cubicBezTo>
                  <a:pt x="0" y="795919"/>
                  <a:pt x="795919" y="0"/>
                  <a:pt x="1777734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368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5888E0-71A5-469F-B817-F4AFD05F1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4530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5888E0-71A5-469F-B817-F4AFD05F1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F80B627-6C29-4775-9249-2D0EB33A07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FE906-6AF2-4D10-8115-E5C2304B6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687" y="411239"/>
            <a:ext cx="11386626" cy="430887"/>
          </a:xfrm>
        </p:spPr>
        <p:txBody>
          <a:bodyPr vert="horz" wrap="square" lIns="0" tIns="0" rIns="0" bIns="0" anchor="ctr" anchorCtr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4826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5888E0-71A5-469F-B817-F4AFD05F1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96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5888E0-71A5-469F-B817-F4AFD05F1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F80B627-6C29-4775-9249-2D0EB33A07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2A0567B-6844-46E5-820B-B8696E2B0493}"/>
              </a:ext>
            </a:extLst>
          </p:cNvPr>
          <p:cNvSpPr/>
          <p:nvPr userDrawn="1"/>
        </p:nvSpPr>
        <p:spPr>
          <a:xfrm>
            <a:off x="0" y="0"/>
            <a:ext cx="12192000" cy="6406352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242818-1552-4102-9839-951DB63E8952}"/>
              </a:ext>
            </a:extLst>
          </p:cNvPr>
          <p:cNvSpPr/>
          <p:nvPr userDrawn="1"/>
        </p:nvSpPr>
        <p:spPr>
          <a:xfrm>
            <a:off x="0" y="6413501"/>
            <a:ext cx="12192000" cy="444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FE906-6AF2-4D10-8115-E5C2304B6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687" y="411239"/>
            <a:ext cx="11386626" cy="430887"/>
          </a:xfrm>
        </p:spPr>
        <p:txBody>
          <a:bodyPr vert="horz" wrap="square" lIns="0" tIns="0" rIns="0" bIns="0" anchor="ctr" anchorCtr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9" name="Gráfico 9">
            <a:extLst>
              <a:ext uri="{FF2B5EF4-FFF2-40B4-BE49-F238E27FC236}">
                <a16:creationId xmlns:a16="http://schemas.microsoft.com/office/drawing/2014/main" id="{B8E77296-8D04-4DE3-923C-29A8F664EC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11661651" y="6471672"/>
            <a:ext cx="327691" cy="32815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D0693A-C2BA-4F4A-A579-A7B65B788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0155" y="6587385"/>
            <a:ext cx="150682" cy="153888"/>
          </a:xfrm>
        </p:spPr>
        <p:txBody>
          <a:bodyPr wrap="none" lIns="0" tIns="0" rIns="0" bIns="0">
            <a:sp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27A278C3-3159-471E-8033-DC41E6B301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4F1284-3313-4CD7-B2BE-53EFC7F435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2687" y="1335087"/>
            <a:ext cx="11386626" cy="321627"/>
          </a:xfr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054FC92-C7EB-40C8-9694-64AB94937991}"/>
              </a:ext>
            </a:extLst>
          </p:cNvPr>
          <p:cNvGrpSpPr/>
          <p:nvPr userDrawn="1"/>
        </p:nvGrpSpPr>
        <p:grpSpPr>
          <a:xfrm>
            <a:off x="223837" y="6464909"/>
            <a:ext cx="2662890" cy="341685"/>
            <a:chOff x="804862" y="6464909"/>
            <a:chExt cx="2662890" cy="341685"/>
          </a:xfrm>
        </p:grpSpPr>
        <p:pic>
          <p:nvPicPr>
            <p:cNvPr id="12" name="Picture 1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8256D7A9-D1E6-4E08-AF8F-049ED99E7F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9500" y="6464909"/>
              <a:ext cx="1898252" cy="341685"/>
            </a:xfrm>
            <a:prstGeom prst="rect">
              <a:avLst/>
            </a:prstGeom>
          </p:spPr>
        </p:pic>
        <p:pic>
          <p:nvPicPr>
            <p:cNvPr id="13" name="Picture 12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4654D795-5306-43C1-A602-274160EF39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4862" y="6494793"/>
              <a:ext cx="747508" cy="2819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030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5888E0-71A5-469F-B817-F4AFD05F1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0349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5888E0-71A5-469F-B817-F4AFD05F1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F80B627-6C29-4775-9249-2D0EB33A07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E3DCA8B-201F-4C07-A850-8BDC04177991}"/>
              </a:ext>
            </a:extLst>
          </p:cNvPr>
          <p:cNvSpPr/>
          <p:nvPr userDrawn="1"/>
        </p:nvSpPr>
        <p:spPr>
          <a:xfrm>
            <a:off x="0" y="0"/>
            <a:ext cx="12192000" cy="6406352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242818-1552-4102-9839-951DB63E8952}"/>
              </a:ext>
            </a:extLst>
          </p:cNvPr>
          <p:cNvSpPr/>
          <p:nvPr userDrawn="1"/>
        </p:nvSpPr>
        <p:spPr>
          <a:xfrm>
            <a:off x="0" y="6413501"/>
            <a:ext cx="12192000" cy="444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FE906-6AF2-4D10-8115-E5C2304B6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687" y="411239"/>
            <a:ext cx="11386626" cy="430887"/>
          </a:xfrm>
        </p:spPr>
        <p:txBody>
          <a:bodyPr vert="horz" wrap="square" lIns="0" tIns="0" rIns="0" bIns="0" anchor="ctr" anchorCtr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9" name="Gráfico 9">
            <a:extLst>
              <a:ext uri="{FF2B5EF4-FFF2-40B4-BE49-F238E27FC236}">
                <a16:creationId xmlns:a16="http://schemas.microsoft.com/office/drawing/2014/main" id="{B8E77296-8D04-4DE3-923C-29A8F664EC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11661651" y="6471672"/>
            <a:ext cx="327691" cy="32815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D0693A-C2BA-4F4A-A579-A7B65B788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0155" y="6587385"/>
            <a:ext cx="150682" cy="153888"/>
          </a:xfrm>
        </p:spPr>
        <p:txBody>
          <a:bodyPr wrap="none" lIns="0" tIns="0" rIns="0" bIns="0">
            <a:sp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27A278C3-3159-471E-8033-DC41E6B301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áfico 9">
            <a:extLst>
              <a:ext uri="{FF2B5EF4-FFF2-40B4-BE49-F238E27FC236}">
                <a16:creationId xmlns:a16="http://schemas.microsoft.com/office/drawing/2014/main" id="{7951EE78-FE01-418F-8CAF-BBC50AEB6D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2788861" y="1816229"/>
            <a:ext cx="1996564" cy="199940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AA07BD64-AA94-4B88-81A7-EF5DE537D1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5097717" y="1816229"/>
            <a:ext cx="1996564" cy="1999405"/>
          </a:xfrm>
          <a:prstGeom prst="rect">
            <a:avLst/>
          </a:prstGeom>
        </p:spPr>
      </p:pic>
      <p:pic>
        <p:nvPicPr>
          <p:cNvPr id="11" name="Gráfico 9">
            <a:extLst>
              <a:ext uri="{FF2B5EF4-FFF2-40B4-BE49-F238E27FC236}">
                <a16:creationId xmlns:a16="http://schemas.microsoft.com/office/drawing/2014/main" id="{B59FB1FC-067C-4207-B49C-82E355A9CD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7406573" y="1816229"/>
            <a:ext cx="1996564" cy="1999405"/>
          </a:xfrm>
          <a:prstGeom prst="rect">
            <a:avLst/>
          </a:prstGeom>
        </p:spPr>
      </p:pic>
      <p:pic>
        <p:nvPicPr>
          <p:cNvPr id="12" name="Gráfico 9">
            <a:extLst>
              <a:ext uri="{FF2B5EF4-FFF2-40B4-BE49-F238E27FC236}">
                <a16:creationId xmlns:a16="http://schemas.microsoft.com/office/drawing/2014/main" id="{E3595053-3D4D-4FE3-BEDA-CECFEBB7F9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9715429" y="1816229"/>
            <a:ext cx="1996564" cy="1999405"/>
          </a:xfrm>
          <a:prstGeom prst="rect">
            <a:avLst/>
          </a:prstGeom>
        </p:spPr>
      </p:pic>
      <p:pic>
        <p:nvPicPr>
          <p:cNvPr id="13" name="Gráfico 9">
            <a:extLst>
              <a:ext uri="{FF2B5EF4-FFF2-40B4-BE49-F238E27FC236}">
                <a16:creationId xmlns:a16="http://schemas.microsoft.com/office/drawing/2014/main" id="{EEF225DA-3607-4347-918A-C798AD71A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50574" t="31321" r="8809" b="11117"/>
          <a:stretch/>
        </p:blipFill>
        <p:spPr>
          <a:xfrm>
            <a:off x="480005" y="1816229"/>
            <a:ext cx="1996564" cy="1999405"/>
          </a:xfrm>
          <a:prstGeom prst="rect">
            <a:avLst/>
          </a:prstGeom>
        </p:spPr>
      </p:pic>
      <p:sp>
        <p:nvSpPr>
          <p:cNvPr id="14" name="Picture Placeholder 92">
            <a:extLst>
              <a:ext uri="{FF2B5EF4-FFF2-40B4-BE49-F238E27FC236}">
                <a16:creationId xmlns:a16="http://schemas.microsoft.com/office/drawing/2014/main" id="{787C7AE3-A9D1-4C79-BF52-40C7F7F16DE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6451" y="1973150"/>
            <a:ext cx="1703673" cy="1703669"/>
          </a:xfrm>
          <a:custGeom>
            <a:avLst/>
            <a:gdLst>
              <a:gd name="connsiteX0" fmla="*/ 461163 w 922326"/>
              <a:gd name="connsiteY0" fmla="*/ 0 h 922324"/>
              <a:gd name="connsiteX1" fmla="*/ 922326 w 922326"/>
              <a:gd name="connsiteY1" fmla="*/ 461162 h 922324"/>
              <a:gd name="connsiteX2" fmla="*/ 922326 w 922326"/>
              <a:gd name="connsiteY2" fmla="*/ 922324 h 922324"/>
              <a:gd name="connsiteX3" fmla="*/ 0 w 922326"/>
              <a:gd name="connsiteY3" fmla="*/ 922324 h 922324"/>
              <a:gd name="connsiteX4" fmla="*/ 0 w 922326"/>
              <a:gd name="connsiteY4" fmla="*/ 461162 h 922324"/>
              <a:gd name="connsiteX5" fmla="*/ 461163 w 922326"/>
              <a:gd name="connsiteY5" fmla="*/ 0 h 92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2326" h="922324">
                <a:moveTo>
                  <a:pt x="461163" y="0"/>
                </a:moveTo>
                <a:cubicBezTo>
                  <a:pt x="715856" y="0"/>
                  <a:pt x="922326" y="206469"/>
                  <a:pt x="922326" y="461162"/>
                </a:cubicBezTo>
                <a:lnTo>
                  <a:pt x="922326" y="922324"/>
                </a:lnTo>
                <a:lnTo>
                  <a:pt x="0" y="922324"/>
                </a:lnTo>
                <a:lnTo>
                  <a:pt x="0" y="461162"/>
                </a:lnTo>
                <a:cubicBezTo>
                  <a:pt x="0" y="206469"/>
                  <a:pt x="206470" y="0"/>
                  <a:pt x="46116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C20B6E8-CA80-4455-9210-E6BBF41376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576" y="3882414"/>
            <a:ext cx="2137423" cy="2492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3543503-4931-4B44-B0AB-2ADD9C89E2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18432" y="3882414"/>
            <a:ext cx="2137423" cy="2492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E5C3830-11AD-40C2-AC99-A4ABB444D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27288" y="3882414"/>
            <a:ext cx="2137423" cy="2492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9A82669-C5A6-4584-8417-2A03BA01EC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36144" y="3882414"/>
            <a:ext cx="2137423" cy="2492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C11B800-73C5-46A8-A6E3-0EE185A8956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645000" y="3882414"/>
            <a:ext cx="2137423" cy="2492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0" name="Picture Placeholder 97">
            <a:extLst>
              <a:ext uri="{FF2B5EF4-FFF2-40B4-BE49-F238E27FC236}">
                <a16:creationId xmlns:a16="http://schemas.microsoft.com/office/drawing/2014/main" id="{78819904-C7FF-44C4-84A4-8EFF279FC12E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2935307" y="1973150"/>
            <a:ext cx="1703673" cy="1703669"/>
          </a:xfrm>
          <a:custGeom>
            <a:avLst/>
            <a:gdLst>
              <a:gd name="connsiteX0" fmla="*/ 461163 w 922326"/>
              <a:gd name="connsiteY0" fmla="*/ 0 h 922324"/>
              <a:gd name="connsiteX1" fmla="*/ 922326 w 922326"/>
              <a:gd name="connsiteY1" fmla="*/ 461162 h 922324"/>
              <a:gd name="connsiteX2" fmla="*/ 922326 w 922326"/>
              <a:gd name="connsiteY2" fmla="*/ 922324 h 922324"/>
              <a:gd name="connsiteX3" fmla="*/ 0 w 922326"/>
              <a:gd name="connsiteY3" fmla="*/ 922324 h 922324"/>
              <a:gd name="connsiteX4" fmla="*/ 0 w 922326"/>
              <a:gd name="connsiteY4" fmla="*/ 461162 h 922324"/>
              <a:gd name="connsiteX5" fmla="*/ 461163 w 922326"/>
              <a:gd name="connsiteY5" fmla="*/ 0 h 92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2326" h="922324">
                <a:moveTo>
                  <a:pt x="461163" y="0"/>
                </a:moveTo>
                <a:cubicBezTo>
                  <a:pt x="715856" y="0"/>
                  <a:pt x="922326" y="206469"/>
                  <a:pt x="922326" y="461162"/>
                </a:cubicBezTo>
                <a:lnTo>
                  <a:pt x="922326" y="922324"/>
                </a:lnTo>
                <a:lnTo>
                  <a:pt x="0" y="922324"/>
                </a:lnTo>
                <a:lnTo>
                  <a:pt x="0" y="461162"/>
                </a:lnTo>
                <a:cubicBezTo>
                  <a:pt x="0" y="206469"/>
                  <a:pt x="206470" y="0"/>
                  <a:pt x="46116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1" name="Picture Placeholder 99">
            <a:extLst>
              <a:ext uri="{FF2B5EF4-FFF2-40B4-BE49-F238E27FC236}">
                <a16:creationId xmlns:a16="http://schemas.microsoft.com/office/drawing/2014/main" id="{214A1009-8705-4941-BFE1-0491F79BC05E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244163" y="1973150"/>
            <a:ext cx="1703673" cy="1703669"/>
          </a:xfrm>
          <a:custGeom>
            <a:avLst/>
            <a:gdLst>
              <a:gd name="connsiteX0" fmla="*/ 461163 w 922326"/>
              <a:gd name="connsiteY0" fmla="*/ 0 h 922324"/>
              <a:gd name="connsiteX1" fmla="*/ 922326 w 922326"/>
              <a:gd name="connsiteY1" fmla="*/ 461162 h 922324"/>
              <a:gd name="connsiteX2" fmla="*/ 922326 w 922326"/>
              <a:gd name="connsiteY2" fmla="*/ 922324 h 922324"/>
              <a:gd name="connsiteX3" fmla="*/ 0 w 922326"/>
              <a:gd name="connsiteY3" fmla="*/ 922324 h 922324"/>
              <a:gd name="connsiteX4" fmla="*/ 0 w 922326"/>
              <a:gd name="connsiteY4" fmla="*/ 461162 h 922324"/>
              <a:gd name="connsiteX5" fmla="*/ 461163 w 922326"/>
              <a:gd name="connsiteY5" fmla="*/ 0 h 92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2326" h="922324">
                <a:moveTo>
                  <a:pt x="461163" y="0"/>
                </a:moveTo>
                <a:cubicBezTo>
                  <a:pt x="715856" y="0"/>
                  <a:pt x="922326" y="206469"/>
                  <a:pt x="922326" y="461162"/>
                </a:cubicBezTo>
                <a:lnTo>
                  <a:pt x="922326" y="922324"/>
                </a:lnTo>
                <a:lnTo>
                  <a:pt x="0" y="922324"/>
                </a:lnTo>
                <a:lnTo>
                  <a:pt x="0" y="461162"/>
                </a:lnTo>
                <a:cubicBezTo>
                  <a:pt x="0" y="206469"/>
                  <a:pt x="206470" y="0"/>
                  <a:pt x="46116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2" name="Picture Placeholder 101">
            <a:extLst>
              <a:ext uri="{FF2B5EF4-FFF2-40B4-BE49-F238E27FC236}">
                <a16:creationId xmlns:a16="http://schemas.microsoft.com/office/drawing/2014/main" id="{A76CDB44-2F38-41BB-9786-4607FD9608E8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7553019" y="1973150"/>
            <a:ext cx="1703673" cy="1703669"/>
          </a:xfrm>
          <a:custGeom>
            <a:avLst/>
            <a:gdLst>
              <a:gd name="connsiteX0" fmla="*/ 461163 w 922326"/>
              <a:gd name="connsiteY0" fmla="*/ 0 h 922324"/>
              <a:gd name="connsiteX1" fmla="*/ 922326 w 922326"/>
              <a:gd name="connsiteY1" fmla="*/ 461162 h 922324"/>
              <a:gd name="connsiteX2" fmla="*/ 922326 w 922326"/>
              <a:gd name="connsiteY2" fmla="*/ 922324 h 922324"/>
              <a:gd name="connsiteX3" fmla="*/ 0 w 922326"/>
              <a:gd name="connsiteY3" fmla="*/ 922324 h 922324"/>
              <a:gd name="connsiteX4" fmla="*/ 0 w 922326"/>
              <a:gd name="connsiteY4" fmla="*/ 461162 h 922324"/>
              <a:gd name="connsiteX5" fmla="*/ 461163 w 922326"/>
              <a:gd name="connsiteY5" fmla="*/ 0 h 92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2326" h="922324">
                <a:moveTo>
                  <a:pt x="461163" y="0"/>
                </a:moveTo>
                <a:cubicBezTo>
                  <a:pt x="715856" y="0"/>
                  <a:pt x="922326" y="206469"/>
                  <a:pt x="922326" y="461162"/>
                </a:cubicBezTo>
                <a:lnTo>
                  <a:pt x="922326" y="922324"/>
                </a:lnTo>
                <a:lnTo>
                  <a:pt x="0" y="922324"/>
                </a:lnTo>
                <a:lnTo>
                  <a:pt x="0" y="461162"/>
                </a:lnTo>
                <a:cubicBezTo>
                  <a:pt x="0" y="206469"/>
                  <a:pt x="206470" y="0"/>
                  <a:pt x="46116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3" name="Picture Placeholder 103">
            <a:extLst>
              <a:ext uri="{FF2B5EF4-FFF2-40B4-BE49-F238E27FC236}">
                <a16:creationId xmlns:a16="http://schemas.microsoft.com/office/drawing/2014/main" id="{A0BCA594-B38A-4DE9-A4A8-B9172EC6D3E3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9861875" y="1973150"/>
            <a:ext cx="1703673" cy="1703669"/>
          </a:xfrm>
          <a:custGeom>
            <a:avLst/>
            <a:gdLst>
              <a:gd name="connsiteX0" fmla="*/ 461163 w 922326"/>
              <a:gd name="connsiteY0" fmla="*/ 0 h 922324"/>
              <a:gd name="connsiteX1" fmla="*/ 922326 w 922326"/>
              <a:gd name="connsiteY1" fmla="*/ 461162 h 922324"/>
              <a:gd name="connsiteX2" fmla="*/ 922326 w 922326"/>
              <a:gd name="connsiteY2" fmla="*/ 922324 h 922324"/>
              <a:gd name="connsiteX3" fmla="*/ 0 w 922326"/>
              <a:gd name="connsiteY3" fmla="*/ 922324 h 922324"/>
              <a:gd name="connsiteX4" fmla="*/ 0 w 922326"/>
              <a:gd name="connsiteY4" fmla="*/ 461162 h 922324"/>
              <a:gd name="connsiteX5" fmla="*/ 461163 w 922326"/>
              <a:gd name="connsiteY5" fmla="*/ 0 h 92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22326" h="922324">
                <a:moveTo>
                  <a:pt x="461163" y="0"/>
                </a:moveTo>
                <a:cubicBezTo>
                  <a:pt x="715856" y="0"/>
                  <a:pt x="922326" y="206469"/>
                  <a:pt x="922326" y="461162"/>
                </a:cubicBezTo>
                <a:lnTo>
                  <a:pt x="922326" y="922324"/>
                </a:lnTo>
                <a:lnTo>
                  <a:pt x="0" y="922324"/>
                </a:lnTo>
                <a:lnTo>
                  <a:pt x="0" y="461162"/>
                </a:lnTo>
                <a:cubicBezTo>
                  <a:pt x="0" y="206469"/>
                  <a:pt x="206470" y="0"/>
                  <a:pt x="46116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0C7AD65-595A-4579-AF37-6A8F4C85AE6E}"/>
              </a:ext>
            </a:extLst>
          </p:cNvPr>
          <p:cNvCxnSpPr>
            <a:cxnSpLocks/>
          </p:cNvCxnSpPr>
          <p:nvPr userDrawn="1"/>
        </p:nvCxnSpPr>
        <p:spPr>
          <a:xfrm>
            <a:off x="409576" y="4463061"/>
            <a:ext cx="213742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063B7943-755B-41D5-A38D-5A2B48B119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9576" y="4218897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 i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6D6F087D-4F10-40D6-8F52-DAB282E243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9576" y="4521975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6A127DC-3CFE-4D26-8CBC-9852B01D17EA}"/>
              </a:ext>
            </a:extLst>
          </p:cNvPr>
          <p:cNvCxnSpPr>
            <a:cxnSpLocks/>
          </p:cNvCxnSpPr>
          <p:nvPr userDrawn="1"/>
        </p:nvCxnSpPr>
        <p:spPr>
          <a:xfrm>
            <a:off x="2718432" y="4463061"/>
            <a:ext cx="213742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108FEDD-E85F-4EBC-A2D3-3BD4A86AD57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18432" y="4218897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 i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0F323981-A56B-4782-8A41-29991A32457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18432" y="4521975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F884FB9-D076-4A1F-AB81-3670397F35E9}"/>
              </a:ext>
            </a:extLst>
          </p:cNvPr>
          <p:cNvCxnSpPr>
            <a:cxnSpLocks/>
          </p:cNvCxnSpPr>
          <p:nvPr userDrawn="1"/>
        </p:nvCxnSpPr>
        <p:spPr>
          <a:xfrm>
            <a:off x="5027288" y="4463061"/>
            <a:ext cx="213742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6D8248E1-C917-414F-ABDC-3B87C8246C1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27288" y="4218897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 i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1899D5ED-C1EB-407C-9176-00F4D51498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7288" y="4521975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B3A7326-6617-4176-99DF-D2910581C443}"/>
              </a:ext>
            </a:extLst>
          </p:cNvPr>
          <p:cNvCxnSpPr>
            <a:cxnSpLocks/>
          </p:cNvCxnSpPr>
          <p:nvPr userDrawn="1"/>
        </p:nvCxnSpPr>
        <p:spPr>
          <a:xfrm>
            <a:off x="7336144" y="4463061"/>
            <a:ext cx="213742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CFA4E19F-DA48-4406-BEC7-1E25F50D0F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36144" y="4218897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 i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869D8DB9-E052-4E65-9DD2-A7E518C0E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36144" y="4521975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DD01980-82DF-4BC7-8702-11E300BFC9E8}"/>
              </a:ext>
            </a:extLst>
          </p:cNvPr>
          <p:cNvCxnSpPr>
            <a:cxnSpLocks/>
          </p:cNvCxnSpPr>
          <p:nvPr userDrawn="1"/>
        </p:nvCxnSpPr>
        <p:spPr>
          <a:xfrm>
            <a:off x="9645000" y="4463061"/>
            <a:ext cx="213742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16627CC-DD34-4317-98D9-AC11BB9346D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45000" y="4218897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 i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FD890978-046D-41B0-927C-2E5CF44BBB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645000" y="4521975"/>
            <a:ext cx="2137423" cy="1938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Text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C32EFB7-36D4-4344-91A0-14E25E08BA68}"/>
              </a:ext>
            </a:extLst>
          </p:cNvPr>
          <p:cNvGrpSpPr/>
          <p:nvPr userDrawn="1"/>
        </p:nvGrpSpPr>
        <p:grpSpPr>
          <a:xfrm>
            <a:off x="223837" y="6464909"/>
            <a:ext cx="2662890" cy="341685"/>
            <a:chOff x="804862" y="6464909"/>
            <a:chExt cx="2662890" cy="341685"/>
          </a:xfrm>
        </p:grpSpPr>
        <p:pic>
          <p:nvPicPr>
            <p:cNvPr id="42" name="Picture 4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9AACF15-0571-468E-AE22-5607DC3D37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9500" y="6464909"/>
              <a:ext cx="1898252" cy="341685"/>
            </a:xfrm>
            <a:prstGeom prst="rect">
              <a:avLst/>
            </a:prstGeom>
          </p:spPr>
        </p:pic>
        <p:pic>
          <p:nvPicPr>
            <p:cNvPr id="43" name="Picture 42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80DA4CC5-FAD3-4127-B4F3-4DDCF08D5C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4862" y="6494793"/>
              <a:ext cx="747508" cy="2819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4462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5888E0-71A5-469F-B817-F4AFD05F1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396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5888E0-71A5-469F-B817-F4AFD05F1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F80B627-6C29-4775-9249-2D0EB33A07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8AF62E-2F4D-411F-8F07-02D2601443FA}"/>
              </a:ext>
            </a:extLst>
          </p:cNvPr>
          <p:cNvSpPr/>
          <p:nvPr userDrawn="1"/>
        </p:nvSpPr>
        <p:spPr>
          <a:xfrm>
            <a:off x="0" y="0"/>
            <a:ext cx="12192000" cy="6406352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FAA6674-450E-4D5D-A6A4-559FA7874B6A}"/>
              </a:ext>
            </a:extLst>
          </p:cNvPr>
          <p:cNvSpPr/>
          <p:nvPr userDrawn="1"/>
        </p:nvSpPr>
        <p:spPr>
          <a:xfrm>
            <a:off x="1" y="5576455"/>
            <a:ext cx="12192000" cy="1281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FE906-6AF2-4D10-8115-E5C2304B6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687" y="411239"/>
            <a:ext cx="11386626" cy="430887"/>
          </a:xfrm>
        </p:spPr>
        <p:txBody>
          <a:bodyPr vert="horz" wrap="square" lIns="0" tIns="0" rIns="0" bIns="0" anchor="ctr" anchorCtr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9" name="Gráfico 9">
            <a:extLst>
              <a:ext uri="{FF2B5EF4-FFF2-40B4-BE49-F238E27FC236}">
                <a16:creationId xmlns:a16="http://schemas.microsoft.com/office/drawing/2014/main" id="{B8E77296-8D04-4DE3-923C-29A8F664EC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11661651" y="6471672"/>
            <a:ext cx="327691" cy="32815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D0693A-C2BA-4F4A-A579-A7B65B788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0155" y="6587385"/>
            <a:ext cx="150682" cy="153888"/>
          </a:xfrm>
        </p:spPr>
        <p:txBody>
          <a:bodyPr wrap="none" lIns="0" tIns="0" rIns="0" bIns="0">
            <a:sp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27A278C3-3159-471E-8033-DC41E6B301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FA5B1608-BCD1-4116-9967-97E725B98500}"/>
              </a:ext>
            </a:extLst>
          </p:cNvPr>
          <p:cNvSpPr/>
          <p:nvPr userDrawn="1"/>
        </p:nvSpPr>
        <p:spPr>
          <a:xfrm>
            <a:off x="6238038" y="1375699"/>
            <a:ext cx="5486400" cy="4836641"/>
          </a:xfrm>
          <a:prstGeom prst="roundRect">
            <a:avLst>
              <a:gd name="adj" fmla="val 1503"/>
            </a:avLst>
          </a:prstGeom>
          <a:solidFill>
            <a:schemeClr val="bg1"/>
          </a:solidFill>
          <a:ln>
            <a:noFill/>
          </a:ln>
          <a:effectLst>
            <a:outerShdw blurRad="63500" sx="101000" sy="101000" algn="ctr" rotWithShape="0">
              <a:schemeClr val="bg1">
                <a:lumMod val="6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Picture Placeholder 10">
            <a:extLst>
              <a:ext uri="{FF2B5EF4-FFF2-40B4-BE49-F238E27FC236}">
                <a16:creationId xmlns:a16="http://schemas.microsoft.com/office/drawing/2014/main" id="{3198B681-C50A-426F-B152-7C72358B88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71177" y="1515852"/>
            <a:ext cx="5220122" cy="4556335"/>
          </a:xfr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Insert screensho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05061B5-167A-4735-91ED-29CC449517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2687" y="1407205"/>
            <a:ext cx="5518279" cy="276999"/>
          </a:xfrm>
        </p:spPr>
        <p:txBody>
          <a:bodyPr wrap="square" lIns="0" tIns="0" rIns="0" bIns="0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800" b="0" i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.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CFBAF62-14D4-4CB0-A1C7-6D9195AD973E}"/>
              </a:ext>
            </a:extLst>
          </p:cNvPr>
          <p:cNvGrpSpPr/>
          <p:nvPr userDrawn="1"/>
        </p:nvGrpSpPr>
        <p:grpSpPr>
          <a:xfrm>
            <a:off x="223837" y="6464909"/>
            <a:ext cx="2662890" cy="341685"/>
            <a:chOff x="804862" y="6464909"/>
            <a:chExt cx="2662890" cy="341685"/>
          </a:xfrm>
        </p:grpSpPr>
        <p:pic>
          <p:nvPicPr>
            <p:cNvPr id="46" name="Picture 4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D88A821-8F4D-4E80-BD74-BBBC14DA78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9500" y="6464909"/>
              <a:ext cx="1898252" cy="341685"/>
            </a:xfrm>
            <a:prstGeom prst="rect">
              <a:avLst/>
            </a:prstGeom>
          </p:spPr>
        </p:pic>
        <p:pic>
          <p:nvPicPr>
            <p:cNvPr id="47" name="Picture 4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935CE291-D663-43FE-82B4-E5C2D3337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4862" y="6494793"/>
              <a:ext cx="747508" cy="2819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6797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5425893-EE40-47FA-A137-F9ADE1F959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3255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C88F68-86AF-4BF9-94B9-FFFCB94A6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C88F68-86AF-4BF9-94B9-FFFCB94A6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89CCC33-52ED-4F34-9B7D-8B5A1AF17A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Rectángulo 33">
            <a:extLst>
              <a:ext uri="{32B9E804-7885-44D1-9B33-E19CE737FDC5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186E2B12-8C23-406E-B983-6E75384DFEA0}"/>
              </a:ext>
            </a:extLst>
          </p:cNvPr>
          <p:cNvSpPr/>
          <p:nvPr userDrawn="1"/>
        </p:nvSpPr>
        <p:spPr>
          <a:xfrm rot="4163199">
            <a:off x="11562511" y="6405117"/>
            <a:ext cx="639460" cy="734799"/>
          </a:xfrm>
          <a:custGeom>
            <a:avLst/>
            <a:gdLst/>
            <a:ahLst/>
            <a:cxnLst/>
            <a:rect l="0" t="0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800" b="0" i="0" u="none" strike="noStrike" cap="none" spc="0" baseline="0">
              <a:ln>
                <a:noFill/>
              </a:ln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Marcador de texto 3">
            <a:extLst>
              <a:ext uri="{8FC39327-0EE8-4446-903A-6E6974144B9A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DD717ADC-5E13-444E-980B-B0DF7EAC2A2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838199" y="6394690"/>
            <a:ext cx="9886951" cy="365125"/>
          </a:xfrm>
          <a:prstGeom prst="rect">
            <a:avLst/>
          </a:prstGeom>
        </p:spPr>
        <p:txBody>
          <a:bodyPr vert="horz" rtlCol="0" anchor="b"/>
          <a:lstStyle>
            <a:lvl1pPr marL="0" lvl="0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1pPr>
            <a:lvl2pPr marL="457200" lvl="1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2pPr>
            <a:lvl3pPr marL="914400" lvl="2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3pPr>
            <a:lvl4pPr marL="1371600" lvl="3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4pPr>
            <a:lvl5pPr marL="1828800" lvl="4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8" name="Marcador de número de diapositiva 40">
            <a:extLst>
              <a:ext uri="{6CC9D9E4-660F-4CE6-A1A1-4B9E0688D589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7A1A4DBE-3F10-4341-8775-A7BAAF626639}"/>
              </a:ext>
            </a:extLst>
          </p:cNvPr>
          <p:cNvSpPr txBox="1"/>
          <p:nvPr userDrawn="1"/>
        </p:nvSpPr>
        <p:spPr>
          <a:xfrm>
            <a:off x="11210925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lvl="0" algn="r" rtl="0">
              <a:defRPr lang="en-US" sz="1200" dirty="0">
                <a:solidFill>
                  <a:schemeClr val="bg1"/>
                </a:solidFill>
                <a:latin typeface="+mn-lt"/>
              </a:defRPr>
            </a:lvl1pPr>
            <a:lvl2pPr marL="457200" lvl="1" algn="l" rtl="0">
              <a:defRPr lang="en-US" sz="1800" dirty="0">
                <a:solidFill>
                  <a:schemeClr val="tx1"/>
                </a:solidFill>
                <a:latin typeface="+mn-lt"/>
              </a:defRPr>
            </a:lvl2pPr>
            <a:lvl3pPr marL="914400" lvl="2" algn="l" rtl="0">
              <a:defRPr lang="en-US" sz="1800" dirty="0">
                <a:solidFill>
                  <a:schemeClr val="tx1"/>
                </a:solidFill>
                <a:latin typeface="+mn-lt"/>
              </a:defRPr>
            </a:lvl3pPr>
            <a:lvl4pPr marL="1371600" lvl="3" algn="l" rtl="0">
              <a:defRPr lang="en-US" sz="1800" dirty="0">
                <a:solidFill>
                  <a:schemeClr val="tx1"/>
                </a:solidFill>
                <a:latin typeface="+mn-lt"/>
              </a:defRPr>
            </a:lvl4pPr>
            <a:lvl5pPr marL="1828800" lvl="4" algn="l" rtl="0">
              <a:defRPr lang="en-US" sz="1800" dirty="0">
                <a:solidFill>
                  <a:schemeClr val="tx1"/>
                </a:solidFill>
                <a:latin typeface="+mn-lt"/>
              </a:defRPr>
            </a:lvl5pPr>
            <a:lvl6pPr marL="2286000" lvl="5" algn="l" rtl="0">
              <a:defRPr lang="en-US" sz="1800" dirty="0">
                <a:solidFill>
                  <a:schemeClr val="tx1"/>
                </a:solidFill>
                <a:latin typeface="+mn-lt"/>
              </a:defRPr>
            </a:lvl6pPr>
            <a:lvl7pPr marL="2743200" lvl="6" algn="l" rtl="0">
              <a:defRPr lang="en-US" sz="1800" dirty="0">
                <a:solidFill>
                  <a:schemeClr val="tx1"/>
                </a:solidFill>
                <a:latin typeface="+mn-lt"/>
              </a:defRPr>
            </a:lvl7pPr>
            <a:lvl8pPr marL="3200400" lvl="7" algn="l" rtl="0">
              <a:defRPr lang="en-US" sz="1800" dirty="0">
                <a:solidFill>
                  <a:schemeClr val="tx1"/>
                </a:solidFill>
                <a:latin typeface="+mn-lt"/>
              </a:defRPr>
            </a:lvl8pPr>
            <a:lvl9pPr marL="3657600" lvl="8" algn="l" rtl="0">
              <a:defRPr lang="en-US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7679DC87-0A64-4542-B2A1-10C8F51D8A4C}" type="slidenum">
              <a:t>‹#›</a:t>
            </a:fld>
            <a:endParaRPr lang="es-ES" sz="1200" b="0" i="0" u="none" strike="noStrike" cap="none" spc="0" baseline="0">
              <a:ln>
                <a:noFill/>
              </a:ln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9" name="Picture 8" descr="A star filled sky&#10;&#10;Description automatically generated">
            <a:extLst>
              <a:ext uri="{FF2B5EF4-FFF2-40B4-BE49-F238E27FC236}">
                <a16:creationId xmlns:a16="http://schemas.microsoft.com/office/drawing/2014/main" id="{D6FD580E-6549-4C48-8DCF-D06596B34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51485"/>
      </p:ext>
      <p:ext uri="{6F0F3F82-9DFC-40D7-A362-BEDFFE01368F}">
        <p14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p14="http://schemas.microsoft.com/office/powerpoint/2010/main" xmlns="" val="16007375073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+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C88F68-86AF-4BF9-94B9-FFFCB94A6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C88F68-86AF-4BF9-94B9-FFFCB94A6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89CCC33-52ED-4F34-9B7D-8B5A1AF17A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Rectángulo 33">
            <a:extLst>
              <a:ext uri="{32B9E804-7885-44D1-9B33-E19CE737FDC5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186E2B12-8C23-406E-B983-6E75384DFEA0}"/>
              </a:ext>
            </a:extLst>
          </p:cNvPr>
          <p:cNvSpPr/>
          <p:nvPr userDrawn="1"/>
        </p:nvSpPr>
        <p:spPr>
          <a:xfrm rot="4163199">
            <a:off x="11562511" y="6405117"/>
            <a:ext cx="639460" cy="734799"/>
          </a:xfrm>
          <a:custGeom>
            <a:avLst/>
            <a:gdLst/>
            <a:ahLst/>
            <a:cxnLst/>
            <a:rect l="0" t="0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800" b="0" i="0" u="none" strike="noStrike" cap="none" spc="0" baseline="0">
              <a:ln>
                <a:noFill/>
              </a:ln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Marcador de texto 3">
            <a:extLst>
              <a:ext uri="{8FC39327-0EE8-4446-903A-6E6974144B9A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DD717ADC-5E13-444E-980B-B0DF7EAC2A2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838199" y="6394690"/>
            <a:ext cx="9886951" cy="365125"/>
          </a:xfrm>
          <a:prstGeom prst="rect">
            <a:avLst/>
          </a:prstGeom>
        </p:spPr>
        <p:txBody>
          <a:bodyPr vert="horz" rtlCol="0" anchor="b"/>
          <a:lstStyle>
            <a:lvl1pPr marL="0" lvl="0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1pPr>
            <a:lvl2pPr marL="457200" lvl="1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2pPr>
            <a:lvl3pPr marL="914400" lvl="2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3pPr>
            <a:lvl4pPr marL="1371600" lvl="3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4pPr>
            <a:lvl5pPr marL="1828800" lvl="4" indent="0">
              <a:buNone/>
              <a:defRPr lang="en-US" sz="800" dirty="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8" name="Marcador de número de diapositiva 40">
            <a:extLst>
              <a:ext uri="{6CC9D9E4-660F-4CE6-A1A1-4B9E0688D589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7A1A4DBE-3F10-4341-8775-A7BAAF626639}"/>
              </a:ext>
            </a:extLst>
          </p:cNvPr>
          <p:cNvSpPr txBox="1"/>
          <p:nvPr userDrawn="1"/>
        </p:nvSpPr>
        <p:spPr>
          <a:xfrm>
            <a:off x="11210925" y="649298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lvl="0" algn="r" rtl="0">
              <a:defRPr lang="en-US" sz="1200" dirty="0">
                <a:solidFill>
                  <a:schemeClr val="bg1"/>
                </a:solidFill>
                <a:latin typeface="+mn-lt"/>
              </a:defRPr>
            </a:lvl1pPr>
            <a:lvl2pPr marL="457200" lvl="1" algn="l" rtl="0">
              <a:defRPr lang="en-US" sz="1800" dirty="0">
                <a:solidFill>
                  <a:schemeClr val="tx1"/>
                </a:solidFill>
                <a:latin typeface="+mn-lt"/>
              </a:defRPr>
            </a:lvl2pPr>
            <a:lvl3pPr marL="914400" lvl="2" algn="l" rtl="0">
              <a:defRPr lang="en-US" sz="1800" dirty="0">
                <a:solidFill>
                  <a:schemeClr val="tx1"/>
                </a:solidFill>
                <a:latin typeface="+mn-lt"/>
              </a:defRPr>
            </a:lvl3pPr>
            <a:lvl4pPr marL="1371600" lvl="3" algn="l" rtl="0">
              <a:defRPr lang="en-US" sz="1800" dirty="0">
                <a:solidFill>
                  <a:schemeClr val="tx1"/>
                </a:solidFill>
                <a:latin typeface="+mn-lt"/>
              </a:defRPr>
            </a:lvl4pPr>
            <a:lvl5pPr marL="1828800" lvl="4" algn="l" rtl="0">
              <a:defRPr lang="en-US" sz="1800" dirty="0">
                <a:solidFill>
                  <a:schemeClr val="tx1"/>
                </a:solidFill>
                <a:latin typeface="+mn-lt"/>
              </a:defRPr>
            </a:lvl5pPr>
            <a:lvl6pPr marL="2286000" lvl="5" algn="l" rtl="0">
              <a:defRPr lang="en-US" sz="1800" dirty="0">
                <a:solidFill>
                  <a:schemeClr val="tx1"/>
                </a:solidFill>
                <a:latin typeface="+mn-lt"/>
              </a:defRPr>
            </a:lvl6pPr>
            <a:lvl7pPr marL="2743200" lvl="6" algn="l" rtl="0">
              <a:defRPr lang="en-US" sz="1800" dirty="0">
                <a:solidFill>
                  <a:schemeClr val="tx1"/>
                </a:solidFill>
                <a:latin typeface="+mn-lt"/>
              </a:defRPr>
            </a:lvl7pPr>
            <a:lvl8pPr marL="3200400" lvl="7" algn="l" rtl="0">
              <a:defRPr lang="en-US" sz="1800" dirty="0">
                <a:solidFill>
                  <a:schemeClr val="tx1"/>
                </a:solidFill>
                <a:latin typeface="+mn-lt"/>
              </a:defRPr>
            </a:lvl8pPr>
            <a:lvl9pPr marL="3657600" lvl="8" algn="l" rtl="0">
              <a:defRPr lang="en-US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7679DC87-0A64-4542-B2A1-10C8F51D8A4C}" type="slidenum">
              <a:t>‹#›</a:t>
            </a:fld>
            <a:endParaRPr lang="es-ES" sz="1200" b="0" i="0" u="none" strike="noStrike" cap="none" spc="0" baseline="0">
              <a:ln>
                <a:noFill/>
              </a:ln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9" name="Picture 8" descr="A star filled sky&#10;&#10;Description automatically generated">
            <a:extLst>
              <a:ext uri="{FF2B5EF4-FFF2-40B4-BE49-F238E27FC236}">
                <a16:creationId xmlns:a16="http://schemas.microsoft.com/office/drawing/2014/main" id="{D6FD580E-6549-4C48-8DCF-D06596B34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684467"/>
      </p:ext>
      <p:ext uri="{6F0F3F82-9DFC-40D7-A362-BEDFFE01368F}">
        <p14:creationId xmlns:p14="http://schemas.microsoft.com/office/powerpoint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val="16007375073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AF93E7F-3902-4B98-6187-FA37AECCF6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6085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F93E7F-3902-4B98-6187-FA37AECCF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1">
            <a:extLst>
              <a:ext uri="{9A776C36-CC2B-4BD7-8A83-D63BBFD8D1F9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5874C3A2-824D-4ECE-A743-7CC49C67011C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>
          <a:xfrm>
            <a:off x="3426279" y="365125"/>
            <a:ext cx="9392558" cy="678815"/>
          </a:xfrm>
          <a:prstGeom prst="rect">
            <a:avLst/>
          </a:prstGeom>
        </p:spPr>
        <p:txBody>
          <a:bodyPr vert="horz" rtlCol="0"/>
          <a:lstStyle>
            <a:lvl1pPr lvl="0">
              <a:defRPr lang="en-US" sz="3200" b="1" dirty="0">
                <a:latin typeface="+mj-lt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Rectángulo 33">
            <a:extLst>
              <a:ext uri="{B9DB26B3-3EBE-425D-A7D1-AD48001F3F01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FA1C1A66-2759-4C5C-B375-F74E7AF9FE27}"/>
              </a:ext>
            </a:extLst>
          </p:cNvPr>
          <p:cNvSpPr/>
          <p:nvPr userDrawn="1"/>
        </p:nvSpPr>
        <p:spPr>
          <a:xfrm rot="4163199">
            <a:off x="11562511" y="6405117"/>
            <a:ext cx="639460" cy="734799"/>
          </a:xfrm>
          <a:custGeom>
            <a:avLst/>
            <a:gdLst/>
            <a:ahLst/>
            <a:cxnLst/>
            <a:rect l="0" t="0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/>
          </a:p>
        </p:txBody>
      </p:sp>
      <p:sp>
        <p:nvSpPr>
          <p:cNvPr id="5" name="Marcador de número de diapositiva 40">
            <a:extLst>
              <a:ext uri="{2BFE6E4A-E653-4B1E-B08C-EC44C34D731F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E63FC705-4CD1-4938-91FE-FD58120617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5" y="6492985"/>
            <a:ext cx="739775" cy="365125"/>
          </a:xfrm>
          <a:prstGeom prst="rect">
            <a:avLst/>
          </a:prstGeom>
        </p:spPr>
        <p:txBody>
          <a:bodyPr rtlCol="0"/>
          <a:lstStyle>
            <a:lvl1pPr lvl="0">
              <a:defRPr lang="en-US" dirty="0">
                <a:solidFill>
                  <a:schemeClr val="bg1"/>
                </a:solidFill>
              </a:defRPr>
            </a:lvl1pPr>
          </a:lstStyle>
          <a:p>
            <a:fld id="{A5567D94-504A-43FB-9CE7-27FBFE96ED80}" type="slidenum">
              <a:t>‹#›</a:t>
            </a:fld>
            <a:endParaRPr lang="en-US"/>
          </a:p>
        </p:txBody>
      </p:sp>
      <p:sp>
        <p:nvSpPr>
          <p:cNvPr id="6" name="Rectángulo 33">
            <a:extLst>
              <a:ext uri="{0A10279D-801F-432C-8B2A-CFFA06C26204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B6020AC1-A9C5-4918-ADB5-4B55888D15E4}"/>
              </a:ext>
            </a:extLst>
          </p:cNvPr>
          <p:cNvSpPr/>
          <p:nvPr userDrawn="1"/>
        </p:nvSpPr>
        <p:spPr>
          <a:xfrm>
            <a:off x="2633798" y="375920"/>
            <a:ext cx="639460" cy="734799"/>
          </a:xfrm>
          <a:custGeom>
            <a:avLst/>
            <a:gdLst/>
            <a:ahLst/>
            <a:cxnLst/>
            <a:rect l="0" t="0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/>
          </a:p>
        </p:txBody>
      </p:sp>
      <p:pic>
        <p:nvPicPr>
          <p:cNvPr id="7" name="Gráfico 7">
            <a:extLst>
              <a:ext uri="{658E4EB1-00FF-4DF4-8F1C-873DB2EE17E8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45E579BC-99F3-47B6-B0F9-E811567FC2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  <a:noFill/>
        </p:spPr>
      </p:pic>
      <p:sp>
        <p:nvSpPr>
          <p:cNvPr id="8" name="CuadroTexto 6">
            <a:extLst>
              <a:ext uri="{386664ED-80FA-4FA1-B134-C5D76B22F324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D44BAE98-7486-4408-A935-A12C9A6A46C5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vert="horz" wrap="square" rtlCol="0" anchor="t">
            <a:noAutofit/>
          </a:bodyPr>
          <a:lstStyle/>
          <a:p>
            <a:pPr algn="l"/>
            <a:endParaRPr lang="es-ES" sz="1600" err="1">
              <a:solidFill>
                <a:schemeClr val="tx1"/>
              </a:solidFill>
            </a:endParaRPr>
          </a:p>
        </p:txBody>
      </p:sp>
      <p:pic>
        <p:nvPicPr>
          <p:cNvPr id="9" name="Marcador de posición de imagen 18" descr="Una imagen de un campo&#10;&#10;Descripción generada automáticamente">
            <a:extLst>
              <a:ext uri="{24B22C4D-7CD9-4C98-9CB1-2350B7B9E706}">
                <a16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a16="http://schemas.microsoft.com/office/drawing/2010/main" xmlns="" id="{41B3EE16-1463-4BFB-8239-E49C747AB3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" y="-10319"/>
            <a:ext cx="3467819" cy="6884253"/>
          </a:xfrm>
          <a:custGeom>
            <a:avLst/>
            <a:gdLst/>
            <a:ahLst/>
            <a:cxnLst/>
            <a:rect l="0" t="0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552936158"/>
      </p:ext>
      <p:ext uri="{C37FF03D-9049-4C52-8AA7-10F86B5E9A2A}">
        <p14:creationId xmlns:c="http://schemas.openxmlformats.org/drawingml/2006/chart" xmlns:cs="http://schemas.microsoft.com/office/drawing/2012/chartStyle" xmlns:ns1="http://schemas.openxmlformats.org/officeDocument/2006/extended-properties" xmlns:vt="http://schemas.openxmlformats.org/officeDocument/2006/docPropsVTypes" xmlns:p14="http://schemas.microsoft.com/office/powerpoint/2010/main" xmlns="" val="1600737507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CEDC34A-B0C9-CA0F-254A-D1F90ADBF8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07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EDC34A-B0C9-CA0F-254A-D1F90ADBF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1">
            <a:extLst>
              <a:ext uri="{9A776C36-CC2B-4BD7-8A83-D63BBFD8D1F9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5874C3A2-824D-4ECE-A743-7CC49C67011C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>
          <a:xfrm>
            <a:off x="3426279" y="365125"/>
            <a:ext cx="9392558" cy="678815"/>
          </a:xfrm>
          <a:prstGeom prst="rect">
            <a:avLst/>
          </a:prstGeom>
        </p:spPr>
        <p:txBody>
          <a:bodyPr vert="horz" rtlCol="0"/>
          <a:lstStyle>
            <a:lvl1pPr lvl="0">
              <a:defRPr lang="en-US" sz="3200" b="1" dirty="0">
                <a:latin typeface="+mj-lt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Rectángulo 33">
            <a:extLst>
              <a:ext uri="{B9DB26B3-3EBE-425D-A7D1-AD48001F3F01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FA1C1A66-2759-4C5C-B375-F74E7AF9FE27}"/>
              </a:ext>
            </a:extLst>
          </p:cNvPr>
          <p:cNvSpPr/>
          <p:nvPr userDrawn="1"/>
        </p:nvSpPr>
        <p:spPr>
          <a:xfrm rot="4163199">
            <a:off x="11562511" y="6405117"/>
            <a:ext cx="639460" cy="734799"/>
          </a:xfrm>
          <a:custGeom>
            <a:avLst/>
            <a:gdLst/>
            <a:ahLst/>
            <a:cxnLst/>
            <a:rect l="0" t="0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/>
          </a:p>
        </p:txBody>
      </p:sp>
      <p:sp>
        <p:nvSpPr>
          <p:cNvPr id="5" name="Marcador de número de diapositiva 40">
            <a:extLst>
              <a:ext uri="{2BFE6E4A-E653-4B1E-B08C-EC44C34D731F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E63FC705-4CD1-4938-91FE-FD58120617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0925" y="6492985"/>
            <a:ext cx="739775" cy="365125"/>
          </a:xfrm>
          <a:prstGeom prst="rect">
            <a:avLst/>
          </a:prstGeom>
        </p:spPr>
        <p:txBody>
          <a:bodyPr rtlCol="0"/>
          <a:lstStyle>
            <a:lvl1pPr lvl="0">
              <a:defRPr lang="en-US" dirty="0">
                <a:solidFill>
                  <a:schemeClr val="bg1"/>
                </a:solidFill>
              </a:defRPr>
            </a:lvl1pPr>
          </a:lstStyle>
          <a:p>
            <a:fld id="{A5567D94-504A-43FB-9CE7-27FBFE96ED80}" type="slidenum">
              <a:t>‹#›</a:t>
            </a:fld>
            <a:endParaRPr lang="en-US"/>
          </a:p>
        </p:txBody>
      </p:sp>
      <p:sp>
        <p:nvSpPr>
          <p:cNvPr id="6" name="Rectángulo 33">
            <a:extLst>
              <a:ext uri="{0A10279D-801F-432C-8B2A-CFFA06C26204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B6020AC1-A9C5-4918-ADB5-4B55888D15E4}"/>
              </a:ext>
            </a:extLst>
          </p:cNvPr>
          <p:cNvSpPr/>
          <p:nvPr userDrawn="1"/>
        </p:nvSpPr>
        <p:spPr>
          <a:xfrm>
            <a:off x="2633798" y="375920"/>
            <a:ext cx="639460" cy="734799"/>
          </a:xfrm>
          <a:custGeom>
            <a:avLst/>
            <a:gdLst/>
            <a:ahLst/>
            <a:cxnLst/>
            <a:rect l="0" t="0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/>
          </a:p>
        </p:txBody>
      </p:sp>
      <p:pic>
        <p:nvPicPr>
          <p:cNvPr id="7" name="Gráfico 7">
            <a:extLst>
              <a:ext uri="{658E4EB1-00FF-4DF4-8F1C-873DB2EE17E8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45E579BC-99F3-47B6-B0F9-E811567FC2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4567" y="514751"/>
            <a:ext cx="379562" cy="379562"/>
          </a:xfrm>
          <a:prstGeom prst="rect">
            <a:avLst/>
          </a:prstGeom>
          <a:noFill/>
        </p:spPr>
      </p:pic>
      <p:sp>
        <p:nvSpPr>
          <p:cNvPr id="8" name="CuadroTexto 6">
            <a:extLst>
              <a:ext uri="{386664ED-80FA-4FA1-B134-C5D76B22F324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D44BAE98-7486-4408-A935-A12C9A6A46C5}"/>
              </a:ext>
            </a:extLst>
          </p:cNvPr>
          <p:cNvSpPr txBox="1"/>
          <p:nvPr userDrawn="1"/>
        </p:nvSpPr>
        <p:spPr>
          <a:xfrm>
            <a:off x="1676400" y="-2209800"/>
            <a:ext cx="209550" cy="45719"/>
          </a:xfrm>
          <a:prstGeom prst="rect">
            <a:avLst/>
          </a:prstGeom>
          <a:noFill/>
        </p:spPr>
        <p:txBody>
          <a:bodyPr vert="horz" wrap="square" rtlCol="0" anchor="t">
            <a:noAutofit/>
          </a:bodyPr>
          <a:lstStyle/>
          <a:p>
            <a:pPr algn="l"/>
            <a:endParaRPr lang="es-ES" sz="1600" err="1">
              <a:solidFill>
                <a:schemeClr val="tx1"/>
              </a:solidFill>
            </a:endParaRPr>
          </a:p>
        </p:txBody>
      </p:sp>
      <p:pic>
        <p:nvPicPr>
          <p:cNvPr id="9" name="Marcador de posición de imagen 18" descr="Una imagen de un campo&#10;&#10;Descripción generada automáticamente">
            <a:extLst>
              <a:ext uri="{24B22C4D-7CD9-4C98-9CB1-2350B7B9E706}">
                <a16:creationId xmlns:a16="http://schemas.microsoft.com/office/drawing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id="{41B3EE16-1463-4BFB-8239-E49C747AB3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" y="-10319"/>
            <a:ext cx="3467819" cy="6884253"/>
          </a:xfrm>
          <a:custGeom>
            <a:avLst/>
            <a:gdLst/>
            <a:ahLst/>
            <a:cxnLst/>
            <a:rect l="0" t="0" r="r" b="b"/>
            <a:pathLst>
              <a:path w="2910140" h="5796000">
                <a:moveTo>
                  <a:pt x="0" y="0"/>
                </a:moveTo>
                <a:lnTo>
                  <a:pt x="12140" y="0"/>
                </a:lnTo>
                <a:cubicBezTo>
                  <a:pt x="1612661" y="0"/>
                  <a:pt x="2910140" y="1297479"/>
                  <a:pt x="2910140" y="2898000"/>
                </a:cubicBezTo>
                <a:lnTo>
                  <a:pt x="2910140" y="5796000"/>
                </a:lnTo>
                <a:lnTo>
                  <a:pt x="0" y="579600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042346834"/>
      </p:ext>
      <p:ext uri="{C37FF03D-9049-4C52-8AA7-10F86B5E9A2A}">
        <p14:creationId xmlns:p14="http://schemas.microsoft.com/office/powerpoint/2010/main" xmlns:vt="http://schemas.openxmlformats.org/officeDocument/2006/docPropsVTypes" xmlns:ns1="http://schemas.openxmlformats.org/officeDocument/2006/extended-properties" xmlns:cs="http://schemas.microsoft.com/office/drawing/2012/chartStyle" xmlns:c="http://schemas.openxmlformats.org/drawingml/2006/chart" xmlns="" val="16007375073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F680D81-3197-ED1A-D91A-3B67D9BAA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2753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680D81-3197-ED1A-D91A-3B67D9BAA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24731EA0-B81B-48ED-A596-E459FBA933FC}"/>
              </a:ext>
            </a:extLst>
          </p:cNvPr>
          <p:cNvSpPr/>
          <p:nvPr userDrawn="1"/>
        </p:nvSpPr>
        <p:spPr>
          <a:xfrm>
            <a:off x="14288" y="1473957"/>
            <a:ext cx="12172950" cy="1746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5ABA1058-8C2A-4757-B6D8-6E60D975D496}"/>
              </a:ext>
            </a:extLst>
          </p:cNvPr>
          <p:cNvSpPr/>
          <p:nvPr userDrawn="1"/>
        </p:nvSpPr>
        <p:spPr>
          <a:xfrm>
            <a:off x="14288" y="1"/>
            <a:ext cx="12172950" cy="1473957"/>
          </a:xfrm>
          <a:custGeom>
            <a:avLst/>
            <a:gdLst>
              <a:gd name="connsiteX0" fmla="*/ 4455792 w 12172950"/>
              <a:gd name="connsiteY0" fmla="*/ 0 h 1473957"/>
              <a:gd name="connsiteX1" fmla="*/ 12172950 w 12172950"/>
              <a:gd name="connsiteY1" fmla="*/ 0 h 1473957"/>
              <a:gd name="connsiteX2" fmla="*/ 12172950 w 12172950"/>
              <a:gd name="connsiteY2" fmla="*/ 1473957 h 1473957"/>
              <a:gd name="connsiteX3" fmla="*/ 0 w 12172950"/>
              <a:gd name="connsiteY3" fmla="*/ 1473957 h 1473957"/>
              <a:gd name="connsiteX4" fmla="*/ 0 w 12172950"/>
              <a:gd name="connsiteY4" fmla="*/ 711253 h 1473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72950" h="1473957">
                <a:moveTo>
                  <a:pt x="4455792" y="0"/>
                </a:moveTo>
                <a:lnTo>
                  <a:pt x="12172950" y="0"/>
                </a:lnTo>
                <a:lnTo>
                  <a:pt x="12172950" y="1473957"/>
                </a:lnTo>
                <a:lnTo>
                  <a:pt x="0" y="1473957"/>
                </a:lnTo>
                <a:lnTo>
                  <a:pt x="0" y="711253"/>
                </a:lnTo>
                <a:close/>
              </a:path>
            </a:pathLst>
          </a:custGeom>
          <a:solidFill>
            <a:srgbClr val="FE6C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3896A4A-ABC6-4A11-8705-824F8FA25662}"/>
              </a:ext>
            </a:extLst>
          </p:cNvPr>
          <p:cNvSpPr/>
          <p:nvPr userDrawn="1"/>
        </p:nvSpPr>
        <p:spPr>
          <a:xfrm>
            <a:off x="14288" y="85725"/>
            <a:ext cx="12172950" cy="6772275"/>
          </a:xfrm>
          <a:custGeom>
            <a:avLst/>
            <a:gdLst>
              <a:gd name="connsiteX0" fmla="*/ 12172950 w 12172950"/>
              <a:gd name="connsiteY0" fmla="*/ 0 h 6772275"/>
              <a:gd name="connsiteX1" fmla="*/ 0 w 12172950"/>
              <a:gd name="connsiteY1" fmla="*/ 1943100 h 6772275"/>
              <a:gd name="connsiteX2" fmla="*/ 0 w 12172950"/>
              <a:gd name="connsiteY2" fmla="*/ 6772275 h 6772275"/>
              <a:gd name="connsiteX3" fmla="*/ 12172950 w 12172950"/>
              <a:gd name="connsiteY3" fmla="*/ 6772275 h 6772275"/>
              <a:gd name="connsiteX4" fmla="*/ 12172950 w 12172950"/>
              <a:gd name="connsiteY4" fmla="*/ 57150 h 6772275"/>
              <a:gd name="connsiteX5" fmla="*/ 12172950 w 12172950"/>
              <a:gd name="connsiteY5" fmla="*/ 0 h 677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72950" h="6772275">
                <a:moveTo>
                  <a:pt x="12172950" y="0"/>
                </a:moveTo>
                <a:lnTo>
                  <a:pt x="0" y="1943100"/>
                </a:lnTo>
                <a:lnTo>
                  <a:pt x="0" y="6772275"/>
                </a:lnTo>
                <a:lnTo>
                  <a:pt x="12172950" y="6772275"/>
                </a:lnTo>
                <a:lnTo>
                  <a:pt x="12172950" y="57150"/>
                </a:lnTo>
                <a:lnTo>
                  <a:pt x="1217295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50DF58-5372-4FF2-8AC7-0223A5AB6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609202-A5A2-48D6-84A6-A560390EA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0470ED-E8DF-47FE-864B-DAEDFD3E5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B645E-C5E5-4727-B977-D372A0AA71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9656137-52FF-4E06-8DF7-393B0A59C75E}"/>
              </a:ext>
            </a:extLst>
          </p:cNvPr>
          <p:cNvSpPr/>
          <p:nvPr userDrawn="1"/>
        </p:nvSpPr>
        <p:spPr>
          <a:xfrm>
            <a:off x="4992000" y="1"/>
            <a:ext cx="7195238" cy="1473957"/>
          </a:xfrm>
          <a:prstGeom prst="rect">
            <a:avLst/>
          </a:prstGeom>
          <a:solidFill>
            <a:srgbClr val="FE6C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B9AF708-5649-4A7F-943B-E30214E929DB}"/>
              </a:ext>
            </a:extLst>
          </p:cNvPr>
          <p:cNvSpPr/>
          <p:nvPr userDrawn="1"/>
        </p:nvSpPr>
        <p:spPr>
          <a:xfrm>
            <a:off x="2853519" y="893928"/>
            <a:ext cx="7195238" cy="580030"/>
          </a:xfrm>
          <a:prstGeom prst="rect">
            <a:avLst/>
          </a:prstGeom>
          <a:solidFill>
            <a:srgbClr val="FE6C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DDAED89D-7958-48A5-AE65-651A28D448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344510 w 12192000"/>
              <a:gd name="connsiteY3" fmla="*/ 6858000 h 6858000"/>
              <a:gd name="connsiteX4" fmla="*/ 9005456 w 12192000"/>
              <a:gd name="connsiteY4" fmla="*/ 2867891 h 6858000"/>
              <a:gd name="connsiteX5" fmla="*/ 4751666 w 12192000"/>
              <a:gd name="connsiteY5" fmla="*/ 922008 h 6858000"/>
              <a:gd name="connsiteX6" fmla="*/ 1 w 12192000"/>
              <a:gd name="connsiteY6" fmla="*/ 1707116 h 6858000"/>
              <a:gd name="connsiteX7" fmla="*/ 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344510" y="6858000"/>
                </a:lnTo>
                <a:lnTo>
                  <a:pt x="9005456" y="2867891"/>
                </a:lnTo>
                <a:lnTo>
                  <a:pt x="4751666" y="922008"/>
                </a:lnTo>
                <a:lnTo>
                  <a:pt x="1" y="1707116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FD01774-E396-43C9-A8B5-23DD9E0885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6728" y="1651379"/>
            <a:ext cx="11123447" cy="4449170"/>
          </a:xfrm>
        </p:spPr>
        <p:txBody>
          <a:bodyPr lIns="0" tIns="0" rIns="0" bIns="0"/>
          <a:lstStyle>
            <a:lvl1pPr>
              <a:lnSpc>
                <a:spcPct val="88000"/>
              </a:lnSpc>
              <a:spcBef>
                <a:spcPts val="200"/>
              </a:spcBef>
              <a:buClr>
                <a:srgbClr val="FE0000"/>
              </a:buClr>
              <a:defRPr/>
            </a:lvl1pPr>
            <a:lvl2pPr marL="531813" indent="-258763">
              <a:lnSpc>
                <a:spcPct val="88000"/>
              </a:lnSpc>
              <a:spcBef>
                <a:spcPts val="200"/>
              </a:spcBef>
              <a:buClr>
                <a:srgbClr val="FE0000"/>
              </a:buClr>
              <a:defRPr/>
            </a:lvl2pPr>
            <a:lvl3pPr marL="804863" indent="-273050">
              <a:lnSpc>
                <a:spcPct val="88000"/>
              </a:lnSpc>
              <a:spcBef>
                <a:spcPts val="200"/>
              </a:spcBef>
              <a:buClr>
                <a:srgbClr val="FE0000"/>
              </a:buClr>
              <a:defRPr/>
            </a:lvl3pPr>
            <a:lvl4pPr marL="1077913" indent="-273050">
              <a:lnSpc>
                <a:spcPct val="88000"/>
              </a:lnSpc>
              <a:spcBef>
                <a:spcPts val="200"/>
              </a:spcBef>
              <a:buClr>
                <a:srgbClr val="FE0000"/>
              </a:buClr>
              <a:defRPr/>
            </a:lvl4pPr>
            <a:lvl5pPr marL="1350963" indent="-273050">
              <a:lnSpc>
                <a:spcPct val="88000"/>
              </a:lnSpc>
              <a:spcBef>
                <a:spcPts val="200"/>
              </a:spcBef>
              <a:buClr>
                <a:srgbClr val="FE0000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DDF5BC2-84C7-45B9-B497-26221D358D7B}"/>
              </a:ext>
            </a:extLst>
          </p:cNvPr>
          <p:cNvGrpSpPr/>
          <p:nvPr userDrawn="1"/>
        </p:nvGrpSpPr>
        <p:grpSpPr>
          <a:xfrm>
            <a:off x="4992000" y="6812281"/>
            <a:ext cx="7200000" cy="45719"/>
            <a:chOff x="0" y="2545117"/>
            <a:chExt cx="12192000" cy="11619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EF99384-B36A-4891-999E-5196D1DBF2B6}"/>
                </a:ext>
              </a:extLst>
            </p:cNvPr>
            <p:cNvSpPr/>
            <p:nvPr/>
          </p:nvSpPr>
          <p:spPr>
            <a:xfrm>
              <a:off x="0" y="2545117"/>
              <a:ext cx="12192000" cy="1161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83A89A9-3B7A-41ED-88DB-25A440E03DAD}"/>
                </a:ext>
              </a:extLst>
            </p:cNvPr>
            <p:cNvSpPr/>
            <p:nvPr/>
          </p:nvSpPr>
          <p:spPr>
            <a:xfrm>
              <a:off x="4840950" y="2545117"/>
              <a:ext cx="1800000" cy="116196"/>
            </a:xfrm>
            <a:prstGeom prst="rect">
              <a:avLst/>
            </a:prstGeom>
            <a:solidFill>
              <a:srgbClr val="003F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5DD30EE-9250-423C-B5E5-C26DC6452B41}"/>
                </a:ext>
              </a:extLst>
            </p:cNvPr>
            <p:cNvSpPr/>
            <p:nvPr/>
          </p:nvSpPr>
          <p:spPr>
            <a:xfrm>
              <a:off x="8251031" y="2545117"/>
              <a:ext cx="3940969" cy="116196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FF1E82B-616E-47D9-8828-519115ECB206}"/>
              </a:ext>
            </a:extLst>
          </p:cNvPr>
          <p:cNvSpPr txBox="1"/>
          <p:nvPr userDrawn="1"/>
        </p:nvSpPr>
        <p:spPr>
          <a:xfrm>
            <a:off x="533400" y="6540057"/>
            <a:ext cx="4640238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Confidential. Copyright © </a:t>
            </a:r>
            <a:r>
              <a:rPr lang="en-US" sz="1200" err="1">
                <a:solidFill>
                  <a:schemeClr val="bg1">
                    <a:lumMod val="50000"/>
                  </a:schemeClr>
                </a:solidFill>
              </a:rPr>
              <a:t>SiFax</a:t>
            </a:r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 Group 2019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0D9C62-84E1-4F7A-9BCF-35F5E680A6A2}"/>
              </a:ext>
            </a:extLst>
          </p:cNvPr>
          <p:cNvCxnSpPr/>
          <p:nvPr userDrawn="1"/>
        </p:nvCxnSpPr>
        <p:spPr>
          <a:xfrm>
            <a:off x="0" y="147395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85EA298-1A4C-403F-A3DC-53FA50826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5529" y="610789"/>
            <a:ext cx="9294126" cy="567792"/>
          </a:xfrm>
        </p:spPr>
        <p:txBody>
          <a:bodyPr vert="horz" lIns="0" tIns="0" rIns="0" bIns="0" anchor="t" anchorCtr="0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56B7B94-DA6D-49F5-95C6-8EF98C8AF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6771" t="15522" r="18387" b="42886"/>
          <a:stretch/>
        </p:blipFill>
        <p:spPr>
          <a:xfrm>
            <a:off x="96224" y="46451"/>
            <a:ext cx="722642" cy="567791"/>
          </a:xfrm>
          <a:prstGeom prst="rect">
            <a:avLst/>
          </a:prstGeom>
          <a:effectLst>
            <a:glow rad="38100">
              <a:schemeClr val="bg1"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6136040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E23BC0-2C2A-44C8-9457-00F9ADF82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75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E23BC0-2C2A-44C8-9457-00F9ADF82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2B4B872-15D1-46C2-825D-7C7D592779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5" name="Picture 4" descr="A picture containing electronics, circuit&#10;&#10;Description automatically generated">
            <a:extLst>
              <a:ext uri="{FF2B5EF4-FFF2-40B4-BE49-F238E27FC236}">
                <a16:creationId xmlns:a16="http://schemas.microsoft.com/office/drawing/2014/main" id="{0075E86A-D956-43CC-9EF5-FFB23778E7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15" y="2981143"/>
            <a:ext cx="5881913" cy="1231106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6315" y="4355352"/>
            <a:ext cx="5881913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1206E42D-8B9B-4A3D-BC73-4A6949225D1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46315" y="215052"/>
            <a:ext cx="3810000" cy="685800"/>
          </a:xfrm>
          <a:prstGeom prst="rect">
            <a:avLst/>
          </a:prstGeom>
        </p:spPr>
      </p:pic>
      <p:pic>
        <p:nvPicPr>
          <p:cNvPr id="20" name="Picture 19" descr="A picture containing drawing&#10;&#10;Description automatically generated">
            <a:extLst>
              <a:ext uri="{FF2B5EF4-FFF2-40B4-BE49-F238E27FC236}">
                <a16:creationId xmlns:a16="http://schemas.microsoft.com/office/drawing/2014/main" id="{C0C8860A-3844-4014-988E-28766F9B6D3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315" y="1761309"/>
            <a:ext cx="2616199" cy="986680"/>
          </a:xfrm>
          <a:prstGeom prst="rect">
            <a:avLst/>
          </a:prstGeom>
        </p:spPr>
      </p:pic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381D83E3-3050-4502-9DBB-21D23A2DE1DA}"/>
              </a:ext>
            </a:extLst>
          </p:cNvPr>
          <p:cNvSpPr/>
          <p:nvPr userDrawn="1"/>
        </p:nvSpPr>
        <p:spPr>
          <a:xfrm>
            <a:off x="7242628" y="957518"/>
            <a:ext cx="4227285" cy="494296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C5647B-C700-4812-BCA2-F5F9090381C4}"/>
              </a:ext>
            </a:extLst>
          </p:cNvPr>
          <p:cNvPicPr>
            <a:picLocks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78537" y="1350296"/>
            <a:ext cx="3555468" cy="4157408"/>
          </a:xfrm>
          <a:prstGeom prst="round2SameRect">
            <a:avLst>
              <a:gd name="adj1" fmla="val 50000"/>
              <a:gd name="adj2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889564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Col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89B7C6-1593-47EB-8440-ED61DFA03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62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89B7C6-1593-47EB-8440-ED61DFA03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625605-480B-4323-90A2-651A3AF252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7E7734C-4A13-4559-83EF-C012059B11AF}"/>
              </a:ext>
            </a:extLst>
          </p:cNvPr>
          <p:cNvGrpSpPr/>
          <p:nvPr userDrawn="1"/>
        </p:nvGrpSpPr>
        <p:grpSpPr>
          <a:xfrm>
            <a:off x="-749451" y="-1"/>
            <a:ext cx="8994070" cy="7509123"/>
            <a:chOff x="-731331" y="-1"/>
            <a:chExt cx="8994070" cy="7509123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471301E-8E93-4B4F-BCAE-9714571192DA}"/>
                </a:ext>
              </a:extLst>
            </p:cNvPr>
            <p:cNvSpPr/>
            <p:nvPr userDrawn="1"/>
          </p:nvSpPr>
          <p:spPr>
            <a:xfrm rot="10800000">
              <a:off x="0" y="-1"/>
              <a:ext cx="8262739" cy="6858000"/>
            </a:xfrm>
            <a:custGeom>
              <a:avLst/>
              <a:gdLst>
                <a:gd name="connsiteX0" fmla="*/ 774160 w 8262739"/>
                <a:gd name="connsiteY0" fmla="*/ 294728 h 6858000"/>
                <a:gd name="connsiteX1" fmla="*/ 774822 w 8262739"/>
                <a:gd name="connsiteY1" fmla="*/ 291871 h 6858000"/>
                <a:gd name="connsiteX2" fmla="*/ 758067 w 8262739"/>
                <a:gd name="connsiteY2" fmla="*/ 278466 h 6858000"/>
                <a:gd name="connsiteX3" fmla="*/ 846914 w 8262739"/>
                <a:gd name="connsiteY3" fmla="*/ 92306 h 6858000"/>
                <a:gd name="connsiteX4" fmla="*/ 899364 w 8262739"/>
                <a:gd name="connsiteY4" fmla="*/ 54843 h 6858000"/>
                <a:gd name="connsiteX5" fmla="*/ 901914 w 8262739"/>
                <a:gd name="connsiteY5" fmla="*/ 49997 h 6858000"/>
                <a:gd name="connsiteX6" fmla="*/ 842681 w 8262739"/>
                <a:gd name="connsiteY6" fmla="*/ 92306 h 6858000"/>
                <a:gd name="connsiteX7" fmla="*/ 753834 w 8262739"/>
                <a:gd name="connsiteY7" fmla="*/ 278466 h 6858000"/>
                <a:gd name="connsiteX8" fmla="*/ 674364 w 8262739"/>
                <a:gd name="connsiteY8" fmla="*/ 821039 h 6858000"/>
                <a:gd name="connsiteX9" fmla="*/ 674577 w 8262739"/>
                <a:gd name="connsiteY9" fmla="*/ 820652 h 6858000"/>
                <a:gd name="connsiteX10" fmla="*/ 681911 w 8262739"/>
                <a:gd name="connsiteY10" fmla="*/ 659247 h 6858000"/>
                <a:gd name="connsiteX11" fmla="*/ 719798 w 8262739"/>
                <a:gd name="connsiteY11" fmla="*/ 629253 h 6858000"/>
                <a:gd name="connsiteX12" fmla="*/ 721575 w 8262739"/>
                <a:gd name="connsiteY12" fmla="*/ 628045 h 6858000"/>
                <a:gd name="connsiteX13" fmla="*/ 724221 w 8262739"/>
                <a:gd name="connsiteY13" fmla="*/ 625399 h 6858000"/>
                <a:gd name="connsiteX14" fmla="*/ 758067 w 8262739"/>
                <a:gd name="connsiteY14" fmla="*/ 595781 h 6858000"/>
                <a:gd name="connsiteX15" fmla="*/ 851147 w 8262739"/>
                <a:gd name="connsiteY15" fmla="*/ 422317 h 6858000"/>
                <a:gd name="connsiteX16" fmla="*/ 854319 w 8262739"/>
                <a:gd name="connsiteY16" fmla="*/ 424431 h 6858000"/>
                <a:gd name="connsiteX17" fmla="*/ 855904 w 8262739"/>
                <a:gd name="connsiteY17" fmla="*/ 421259 h 6858000"/>
                <a:gd name="connsiteX18" fmla="*/ 851147 w 8262739"/>
                <a:gd name="connsiteY18" fmla="*/ 418088 h 6858000"/>
                <a:gd name="connsiteX19" fmla="*/ 758067 w 8262739"/>
                <a:gd name="connsiteY19" fmla="*/ 591553 h 6858000"/>
                <a:gd name="connsiteX20" fmla="*/ 724221 w 8262739"/>
                <a:gd name="connsiteY20" fmla="*/ 625399 h 6858000"/>
                <a:gd name="connsiteX21" fmla="*/ 719989 w 8262739"/>
                <a:gd name="connsiteY21" fmla="*/ 629102 h 6858000"/>
                <a:gd name="connsiteX22" fmla="*/ 719798 w 8262739"/>
                <a:gd name="connsiteY22" fmla="*/ 629253 h 6858000"/>
                <a:gd name="connsiteX23" fmla="*/ 681911 w 8262739"/>
                <a:gd name="connsiteY23" fmla="*/ 655019 h 6858000"/>
                <a:gd name="connsiteX24" fmla="*/ 681729 w 8262739"/>
                <a:gd name="connsiteY24" fmla="*/ 659070 h 6858000"/>
                <a:gd name="connsiteX25" fmla="*/ 597990 w 8262739"/>
                <a:gd name="connsiteY25" fmla="*/ 1025570 h 6858000"/>
                <a:gd name="connsiteX26" fmla="*/ 598190 w 8262739"/>
                <a:gd name="connsiteY26" fmla="*/ 1024980 h 6858000"/>
                <a:gd name="connsiteX27" fmla="*/ 595885 w 8262739"/>
                <a:gd name="connsiteY27" fmla="*/ 1024518 h 6858000"/>
                <a:gd name="connsiteX28" fmla="*/ 2119992 w 8262739"/>
                <a:gd name="connsiteY28" fmla="*/ 6660069 h 6858000"/>
                <a:gd name="connsiteX29" fmla="*/ 2120414 w 8262739"/>
                <a:gd name="connsiteY29" fmla="*/ 6658670 h 6858000"/>
                <a:gd name="connsiteX30" fmla="*/ 2111615 w 8262739"/>
                <a:gd name="connsiteY30" fmla="*/ 6649866 h 6858000"/>
                <a:gd name="connsiteX31" fmla="*/ 1743929 w 8262739"/>
                <a:gd name="connsiteY31" fmla="*/ 6858000 h 6858000"/>
                <a:gd name="connsiteX32" fmla="*/ 1672367 w 8262739"/>
                <a:gd name="connsiteY32" fmla="*/ 6858000 h 6858000"/>
                <a:gd name="connsiteX33" fmla="*/ 1638095 w 8262739"/>
                <a:gd name="connsiteY33" fmla="*/ 6819444 h 6858000"/>
                <a:gd name="connsiteX34" fmla="*/ 1663481 w 8262739"/>
                <a:gd name="connsiteY34" fmla="*/ 6785597 h 6858000"/>
                <a:gd name="connsiteX35" fmla="*/ 1901513 w 8262739"/>
                <a:gd name="connsiteY35" fmla="*/ 6858000 h 6858000"/>
                <a:gd name="connsiteX36" fmla="*/ 1795034 w 8262739"/>
                <a:gd name="connsiteY36" fmla="*/ 6858000 h 6858000"/>
                <a:gd name="connsiteX37" fmla="*/ 1731171 w 8262739"/>
                <a:gd name="connsiteY37" fmla="*/ 6781364 h 6858000"/>
                <a:gd name="connsiteX38" fmla="*/ 1698079 w 8262739"/>
                <a:gd name="connsiteY38" fmla="*/ 6745264 h 6858000"/>
                <a:gd name="connsiteX39" fmla="*/ 1793828 w 8262739"/>
                <a:gd name="connsiteY39" fmla="*/ 6858000 h 6858000"/>
                <a:gd name="connsiteX40" fmla="*/ 1748158 w 8262739"/>
                <a:gd name="connsiteY40" fmla="*/ 6858000 h 6858000"/>
                <a:gd name="connsiteX41" fmla="*/ 1667709 w 8262739"/>
                <a:gd name="connsiteY41" fmla="*/ 6785597 h 6858000"/>
                <a:gd name="connsiteX42" fmla="*/ 1574630 w 8262739"/>
                <a:gd name="connsiteY42" fmla="*/ 6671360 h 6858000"/>
                <a:gd name="connsiteX43" fmla="*/ 1485783 w 8262739"/>
                <a:gd name="connsiteY43" fmla="*/ 6552895 h 6858000"/>
                <a:gd name="connsiteX44" fmla="*/ 1595786 w 8262739"/>
                <a:gd name="connsiteY44" fmla="*/ 6624823 h 6858000"/>
                <a:gd name="connsiteX45" fmla="*/ 1601188 w 8262739"/>
                <a:gd name="connsiteY45" fmla="*/ 6631183 h 6858000"/>
                <a:gd name="connsiteX46" fmla="*/ 1651314 w 8262739"/>
                <a:gd name="connsiteY46" fmla="*/ 6642275 h 6858000"/>
                <a:gd name="connsiteX47" fmla="*/ 1765018 w 8262739"/>
                <a:gd name="connsiteY47" fmla="*/ 6747517 h 6858000"/>
                <a:gd name="connsiteX48" fmla="*/ 1848052 w 8262739"/>
                <a:gd name="connsiteY48" fmla="*/ 6814155 h 6858000"/>
                <a:gd name="connsiteX49" fmla="*/ 8262739 w 8262739"/>
                <a:gd name="connsiteY49" fmla="*/ 6858000 h 6858000"/>
                <a:gd name="connsiteX50" fmla="*/ 2188465 w 8262739"/>
                <a:gd name="connsiteY50" fmla="*/ 6858000 h 6858000"/>
                <a:gd name="connsiteX51" fmla="*/ 2116185 w 8262739"/>
                <a:gd name="connsiteY51" fmla="*/ 6794059 h 6858000"/>
                <a:gd name="connsiteX52" fmla="*/ 1976568 w 8262739"/>
                <a:gd name="connsiteY52" fmla="*/ 6679826 h 6858000"/>
                <a:gd name="connsiteX53" fmla="*/ 1773484 w 8262739"/>
                <a:gd name="connsiteY53" fmla="*/ 6455586 h 6858000"/>
                <a:gd name="connsiteX54" fmla="*/ 1759550 w 8262739"/>
                <a:gd name="connsiteY54" fmla="*/ 6412038 h 6858000"/>
                <a:gd name="connsiteX55" fmla="*/ 1718480 w 8262739"/>
                <a:gd name="connsiteY55" fmla="*/ 6370968 h 6858000"/>
                <a:gd name="connsiteX56" fmla="*/ 1578863 w 8262739"/>
                <a:gd name="connsiteY56" fmla="*/ 6218656 h 6858000"/>
                <a:gd name="connsiteX57" fmla="*/ 1561939 w 8262739"/>
                <a:gd name="connsiteY57" fmla="*/ 6142499 h 6858000"/>
                <a:gd name="connsiteX58" fmla="*/ 1506935 w 8262739"/>
                <a:gd name="connsiteY58" fmla="*/ 6066343 h 6858000"/>
                <a:gd name="connsiteX59" fmla="*/ 1500383 w 8262739"/>
                <a:gd name="connsiteY59" fmla="*/ 6056069 h 6858000"/>
                <a:gd name="connsiteX60" fmla="*/ 1435007 w 8262739"/>
                <a:gd name="connsiteY60" fmla="*/ 6011339 h 6858000"/>
                <a:gd name="connsiteX61" fmla="*/ 1308080 w 8262739"/>
                <a:gd name="connsiteY61" fmla="*/ 5829412 h 6858000"/>
                <a:gd name="connsiteX62" fmla="*/ 1236157 w 8262739"/>
                <a:gd name="connsiteY62" fmla="*/ 5660176 h 6858000"/>
                <a:gd name="connsiteX63" fmla="*/ 1227695 w 8262739"/>
                <a:gd name="connsiteY63" fmla="*/ 5660176 h 6858000"/>
                <a:gd name="connsiteX64" fmla="*/ 1130387 w 8262739"/>
                <a:gd name="connsiteY64" fmla="*/ 5474016 h 6858000"/>
                <a:gd name="connsiteX65" fmla="*/ 1037307 w 8262739"/>
                <a:gd name="connsiteY65" fmla="*/ 5287856 h 6858000"/>
                <a:gd name="connsiteX66" fmla="*/ 939994 w 8262739"/>
                <a:gd name="connsiteY66" fmla="*/ 5072083 h 6858000"/>
                <a:gd name="connsiteX67" fmla="*/ 851147 w 8262739"/>
                <a:gd name="connsiteY67" fmla="*/ 4852075 h 6858000"/>
                <a:gd name="connsiteX68" fmla="*/ 898733 w 8262739"/>
                <a:gd name="connsiteY68" fmla="*/ 4922927 h 6858000"/>
                <a:gd name="connsiteX69" fmla="*/ 898752 w 8262739"/>
                <a:gd name="connsiteY69" fmla="*/ 4922958 h 6858000"/>
                <a:gd name="connsiteX70" fmla="*/ 939994 w 8262739"/>
                <a:gd name="connsiteY70" fmla="*/ 5000155 h 6858000"/>
                <a:gd name="connsiteX71" fmla="*/ 1028845 w 8262739"/>
                <a:gd name="connsiteY71" fmla="*/ 5186315 h 6858000"/>
                <a:gd name="connsiteX72" fmla="*/ 1058459 w 8262739"/>
                <a:gd name="connsiteY72" fmla="*/ 5287856 h 6858000"/>
                <a:gd name="connsiteX73" fmla="*/ 1070701 w 8262739"/>
                <a:gd name="connsiteY73" fmla="*/ 5305806 h 6858000"/>
                <a:gd name="connsiteX74" fmla="*/ 1055634 w 8262739"/>
                <a:gd name="connsiteY74" fmla="*/ 5227473 h 6858000"/>
                <a:gd name="connsiteX75" fmla="*/ 1016346 w 8262739"/>
                <a:gd name="connsiteY75" fmla="*/ 5156168 h 6858000"/>
                <a:gd name="connsiteX76" fmla="*/ 952391 w 8262739"/>
                <a:gd name="connsiteY76" fmla="*/ 5012357 h 6858000"/>
                <a:gd name="connsiteX77" fmla="*/ 898752 w 8262739"/>
                <a:gd name="connsiteY77" fmla="*/ 4922958 h 6858000"/>
                <a:gd name="connsiteX78" fmla="*/ 898743 w 8262739"/>
                <a:gd name="connsiteY78" fmla="*/ 4922942 h 6858000"/>
                <a:gd name="connsiteX79" fmla="*/ 898733 w 8262739"/>
                <a:gd name="connsiteY79" fmla="*/ 4922927 h 6858000"/>
                <a:gd name="connsiteX80" fmla="*/ 876528 w 8262739"/>
                <a:gd name="connsiteY80" fmla="*/ 4885918 h 6858000"/>
                <a:gd name="connsiteX81" fmla="*/ 783448 w 8262739"/>
                <a:gd name="connsiteY81" fmla="*/ 4632064 h 6858000"/>
                <a:gd name="connsiteX82" fmla="*/ 703703 w 8262739"/>
                <a:gd name="connsiteY82" fmla="*/ 4371836 h 6858000"/>
                <a:gd name="connsiteX83" fmla="*/ 677518 w 8262739"/>
                <a:gd name="connsiteY83" fmla="*/ 4295977 h 6858000"/>
                <a:gd name="connsiteX84" fmla="*/ 563468 w 8262739"/>
                <a:gd name="connsiteY84" fmla="*/ 3840737 h 6858000"/>
                <a:gd name="connsiteX85" fmla="*/ 513030 w 8262739"/>
                <a:gd name="connsiteY85" fmla="*/ 3510255 h 6858000"/>
                <a:gd name="connsiteX86" fmla="*/ 512670 w 8262739"/>
                <a:gd name="connsiteY86" fmla="*/ 3519338 h 6858000"/>
                <a:gd name="connsiteX87" fmla="*/ 516903 w 8262739"/>
                <a:gd name="connsiteY87" fmla="*/ 3587033 h 6858000"/>
                <a:gd name="connsiteX88" fmla="*/ 538056 w 8262739"/>
                <a:gd name="connsiteY88" fmla="*/ 3743579 h 6858000"/>
                <a:gd name="connsiteX89" fmla="*/ 563441 w 8262739"/>
                <a:gd name="connsiteY89" fmla="*/ 3904353 h 6858000"/>
                <a:gd name="connsiteX90" fmla="*/ 521132 w 8262739"/>
                <a:gd name="connsiteY90" fmla="*/ 3764731 h 6858000"/>
                <a:gd name="connsiteX91" fmla="*/ 491518 w 8262739"/>
                <a:gd name="connsiteY91" fmla="*/ 3587033 h 6858000"/>
                <a:gd name="connsiteX92" fmla="*/ 457671 w 8262739"/>
                <a:gd name="connsiteY92" fmla="*/ 3587033 h 6858000"/>
                <a:gd name="connsiteX93" fmla="*/ 436514 w 8262739"/>
                <a:gd name="connsiteY93" fmla="*/ 3426258 h 6858000"/>
                <a:gd name="connsiteX94" fmla="*/ 406900 w 8262739"/>
                <a:gd name="connsiteY94" fmla="*/ 3324717 h 6858000"/>
                <a:gd name="connsiteX95" fmla="*/ 381515 w 8262739"/>
                <a:gd name="connsiteY95" fmla="*/ 3227408 h 6858000"/>
                <a:gd name="connsiteX96" fmla="*/ 309587 w 8262739"/>
                <a:gd name="connsiteY96" fmla="*/ 3151252 h 6858000"/>
                <a:gd name="connsiteX97" fmla="*/ 288435 w 8262739"/>
                <a:gd name="connsiteY97" fmla="*/ 3151252 h 6858000"/>
                <a:gd name="connsiteX98" fmla="*/ 267278 w 8262739"/>
                <a:gd name="connsiteY98" fmla="*/ 3045477 h 6858000"/>
                <a:gd name="connsiteX99" fmla="*/ 258816 w 8262739"/>
                <a:gd name="connsiteY99" fmla="*/ 2910088 h 6858000"/>
                <a:gd name="connsiteX100" fmla="*/ 275740 w 8262739"/>
                <a:gd name="connsiteY100" fmla="*/ 2719700 h 6858000"/>
                <a:gd name="connsiteX101" fmla="*/ 284202 w 8262739"/>
                <a:gd name="connsiteY101" fmla="*/ 2652006 h 6858000"/>
                <a:gd name="connsiteX102" fmla="*/ 298611 w 8262739"/>
                <a:gd name="connsiteY102" fmla="*/ 2605575 h 6858000"/>
                <a:gd name="connsiteX103" fmla="*/ 291606 w 8262739"/>
                <a:gd name="connsiteY103" fmla="*/ 2499693 h 6858000"/>
                <a:gd name="connsiteX104" fmla="*/ 301125 w 8262739"/>
                <a:gd name="connsiteY104" fmla="*/ 2343147 h 6858000"/>
                <a:gd name="connsiteX105" fmla="*/ 318049 w 8262739"/>
                <a:gd name="connsiteY105" fmla="*/ 2311419 h 6858000"/>
                <a:gd name="connsiteX106" fmla="*/ 318049 w 8262739"/>
                <a:gd name="connsiteY106" fmla="*/ 2292377 h 6858000"/>
                <a:gd name="connsiteX107" fmla="*/ 284202 w 8262739"/>
                <a:gd name="connsiteY107" fmla="*/ 2355842 h 6858000"/>
                <a:gd name="connsiteX108" fmla="*/ 254587 w 8262739"/>
                <a:gd name="connsiteY108" fmla="*/ 2313533 h 6858000"/>
                <a:gd name="connsiteX109" fmla="*/ 199583 w 8262739"/>
                <a:gd name="connsiteY109" fmla="*/ 2237377 h 6858000"/>
                <a:gd name="connsiteX110" fmla="*/ 189536 w 8262739"/>
                <a:gd name="connsiteY110" fmla="*/ 2177087 h 6858000"/>
                <a:gd name="connsiteX111" fmla="*/ 186893 w 8262739"/>
                <a:gd name="connsiteY111" fmla="*/ 2182373 h 6858000"/>
                <a:gd name="connsiteX112" fmla="*/ 169969 w 8262739"/>
                <a:gd name="connsiteY112" fmla="*/ 2351609 h 6858000"/>
                <a:gd name="connsiteX113" fmla="*/ 157274 w 8262739"/>
                <a:gd name="connsiteY113" fmla="*/ 2520845 h 6858000"/>
                <a:gd name="connsiteX114" fmla="*/ 144584 w 8262739"/>
                <a:gd name="connsiteY114" fmla="*/ 2652006 h 6858000"/>
                <a:gd name="connsiteX115" fmla="*/ 144584 w 8262739"/>
                <a:gd name="connsiteY115" fmla="*/ 2922779 h 6858000"/>
                <a:gd name="connsiteX116" fmla="*/ 148813 w 8262739"/>
                <a:gd name="connsiteY116" fmla="*/ 3062401 h 6858000"/>
                <a:gd name="connsiteX117" fmla="*/ 157274 w 8262739"/>
                <a:gd name="connsiteY117" fmla="*/ 3202018 h 6858000"/>
                <a:gd name="connsiteX118" fmla="*/ 119198 w 8262739"/>
                <a:gd name="connsiteY118" fmla="*/ 3333179 h 6858000"/>
                <a:gd name="connsiteX119" fmla="*/ 110737 w 8262739"/>
                <a:gd name="connsiteY119" fmla="*/ 3333179 h 6858000"/>
                <a:gd name="connsiteX120" fmla="*/ 85351 w 8262739"/>
                <a:gd name="connsiteY120" fmla="*/ 3079324 h 6858000"/>
                <a:gd name="connsiteX121" fmla="*/ 85351 w 8262739"/>
                <a:gd name="connsiteY121" fmla="*/ 2817009 h 6858000"/>
                <a:gd name="connsiteX122" fmla="*/ 106504 w 8262739"/>
                <a:gd name="connsiteY122" fmla="*/ 2613925 h 6858000"/>
                <a:gd name="connsiteX123" fmla="*/ 144566 w 8262739"/>
                <a:gd name="connsiteY123" fmla="*/ 2651983 h 6858000"/>
                <a:gd name="connsiteX124" fmla="*/ 110737 w 8262739"/>
                <a:gd name="connsiteY124" fmla="*/ 2609697 h 6858000"/>
                <a:gd name="connsiteX125" fmla="*/ 102275 w 8262739"/>
                <a:gd name="connsiteY125" fmla="*/ 2457384 h 6858000"/>
                <a:gd name="connsiteX126" fmla="*/ 110737 w 8262739"/>
                <a:gd name="connsiteY126" fmla="*/ 2224682 h 6858000"/>
                <a:gd name="connsiteX127" fmla="*/ 114965 w 8262739"/>
                <a:gd name="connsiteY127" fmla="*/ 2161221 h 6858000"/>
                <a:gd name="connsiteX128" fmla="*/ 127660 w 8262739"/>
                <a:gd name="connsiteY128" fmla="*/ 2055446 h 6858000"/>
                <a:gd name="connsiteX129" fmla="*/ 178431 w 8262739"/>
                <a:gd name="connsiteY129" fmla="*/ 1865057 h 6858000"/>
                <a:gd name="connsiteX130" fmla="*/ 203728 w 8262739"/>
                <a:gd name="connsiteY130" fmla="*/ 1738579 h 6858000"/>
                <a:gd name="connsiteX131" fmla="*/ 195355 w 8262739"/>
                <a:gd name="connsiteY131" fmla="*/ 1708512 h 6858000"/>
                <a:gd name="connsiteX132" fmla="*/ 165736 w 8262739"/>
                <a:gd name="connsiteY132" fmla="*/ 1877748 h 6858000"/>
                <a:gd name="connsiteX133" fmla="*/ 114965 w 8262739"/>
                <a:gd name="connsiteY133" fmla="*/ 2068141 h 6858000"/>
                <a:gd name="connsiteX134" fmla="*/ 102275 w 8262739"/>
                <a:gd name="connsiteY134" fmla="*/ 2173911 h 6858000"/>
                <a:gd name="connsiteX135" fmla="*/ 98042 w 8262739"/>
                <a:gd name="connsiteY135" fmla="*/ 2237377 h 6858000"/>
                <a:gd name="connsiteX136" fmla="*/ 89580 w 8262739"/>
                <a:gd name="connsiteY136" fmla="*/ 2470075 h 6858000"/>
                <a:gd name="connsiteX137" fmla="*/ 98042 w 8262739"/>
                <a:gd name="connsiteY137" fmla="*/ 2622387 h 6858000"/>
                <a:gd name="connsiteX138" fmla="*/ 76889 w 8262739"/>
                <a:gd name="connsiteY138" fmla="*/ 2825470 h 6858000"/>
                <a:gd name="connsiteX139" fmla="*/ 76889 w 8262739"/>
                <a:gd name="connsiteY139" fmla="*/ 3087786 h 6858000"/>
                <a:gd name="connsiteX140" fmla="*/ 102275 w 8262739"/>
                <a:gd name="connsiteY140" fmla="*/ 3341640 h 6858000"/>
                <a:gd name="connsiteX141" fmla="*/ 110737 w 8262739"/>
                <a:gd name="connsiteY141" fmla="*/ 3341640 h 6858000"/>
                <a:gd name="connsiteX142" fmla="*/ 165736 w 8262739"/>
                <a:gd name="connsiteY142" fmla="*/ 3582805 h 6858000"/>
                <a:gd name="connsiteX143" fmla="*/ 195355 w 8262739"/>
                <a:gd name="connsiteY143" fmla="*/ 3781654 h 6858000"/>
                <a:gd name="connsiteX144" fmla="*/ 258816 w 8262739"/>
                <a:gd name="connsiteY144" fmla="*/ 3984738 h 6858000"/>
                <a:gd name="connsiteX145" fmla="*/ 358772 w 8262739"/>
                <a:gd name="connsiteY145" fmla="*/ 4421447 h 6858000"/>
                <a:gd name="connsiteX146" fmla="*/ 367496 w 8262739"/>
                <a:gd name="connsiteY146" fmla="*/ 4505141 h 6858000"/>
                <a:gd name="connsiteX147" fmla="*/ 385748 w 8262739"/>
                <a:gd name="connsiteY147" fmla="*/ 4505141 h 6858000"/>
                <a:gd name="connsiteX148" fmla="*/ 478828 w 8262739"/>
                <a:gd name="connsiteY148" fmla="*/ 4729378 h 6858000"/>
                <a:gd name="connsiteX149" fmla="*/ 512675 w 8262739"/>
                <a:gd name="connsiteY149" fmla="*/ 4843614 h 6858000"/>
                <a:gd name="connsiteX150" fmla="*/ 449209 w 8262739"/>
                <a:gd name="connsiteY150" fmla="*/ 4746301 h 6858000"/>
                <a:gd name="connsiteX151" fmla="*/ 381515 w 8262739"/>
                <a:gd name="connsiteY151" fmla="*/ 4593989 h 6858000"/>
                <a:gd name="connsiteX152" fmla="*/ 377286 w 8262739"/>
                <a:gd name="connsiteY152" fmla="*/ 4636297 h 6858000"/>
                <a:gd name="connsiteX153" fmla="*/ 340476 w 8262739"/>
                <a:gd name="connsiteY153" fmla="*/ 4522194 h 6858000"/>
                <a:gd name="connsiteX154" fmla="*/ 313820 w 8262739"/>
                <a:gd name="connsiteY154" fmla="*/ 4526294 h 6858000"/>
                <a:gd name="connsiteX155" fmla="*/ 284202 w 8262739"/>
                <a:gd name="connsiteY155" fmla="*/ 4428985 h 6858000"/>
                <a:gd name="connsiteX156" fmla="*/ 182660 w 8262739"/>
                <a:gd name="connsiteY156" fmla="*/ 4196284 h 6858000"/>
                <a:gd name="connsiteX157" fmla="*/ 119198 w 8262739"/>
                <a:gd name="connsiteY157" fmla="*/ 3988971 h 6858000"/>
                <a:gd name="connsiteX158" fmla="*/ 114965 w 8262739"/>
                <a:gd name="connsiteY158" fmla="*/ 3815502 h 6858000"/>
                <a:gd name="connsiteX159" fmla="*/ 85351 w 8262739"/>
                <a:gd name="connsiteY159" fmla="*/ 3612418 h 6858000"/>
                <a:gd name="connsiteX160" fmla="*/ 64195 w 8262739"/>
                <a:gd name="connsiteY160" fmla="*/ 3409335 h 6858000"/>
                <a:gd name="connsiteX161" fmla="*/ 17657 w 8262739"/>
                <a:gd name="connsiteY161" fmla="*/ 3261255 h 6858000"/>
                <a:gd name="connsiteX162" fmla="*/ 47271 w 8262739"/>
                <a:gd name="connsiteY162" fmla="*/ 2474308 h 6858000"/>
                <a:gd name="connsiteX163" fmla="*/ 76889 w 8262739"/>
                <a:gd name="connsiteY163" fmla="*/ 2271224 h 6858000"/>
                <a:gd name="connsiteX164" fmla="*/ 51504 w 8262739"/>
                <a:gd name="connsiteY164" fmla="*/ 2161221 h 6858000"/>
                <a:gd name="connsiteX165" fmla="*/ 102275 w 8262739"/>
                <a:gd name="connsiteY165" fmla="*/ 1856596 h 6858000"/>
                <a:gd name="connsiteX166" fmla="*/ 114965 w 8262739"/>
                <a:gd name="connsiteY166" fmla="*/ 1784668 h 6858000"/>
                <a:gd name="connsiteX167" fmla="*/ 148813 w 8262739"/>
                <a:gd name="connsiteY167" fmla="*/ 1539276 h 6858000"/>
                <a:gd name="connsiteX168" fmla="*/ 237664 w 8262739"/>
                <a:gd name="connsiteY168" fmla="*/ 1361578 h 6858000"/>
                <a:gd name="connsiteX169" fmla="*/ 216507 w 8262739"/>
                <a:gd name="connsiteY169" fmla="*/ 1602741 h 6858000"/>
                <a:gd name="connsiteX170" fmla="*/ 237655 w 8262739"/>
                <a:gd name="connsiteY170" fmla="*/ 1561405 h 6858000"/>
                <a:gd name="connsiteX171" fmla="*/ 250354 w 8262739"/>
                <a:gd name="connsiteY171" fmla="*/ 1462591 h 6858000"/>
                <a:gd name="connsiteX172" fmla="*/ 254587 w 8262739"/>
                <a:gd name="connsiteY172" fmla="*/ 1353116 h 6858000"/>
                <a:gd name="connsiteX173" fmla="*/ 292663 w 8262739"/>
                <a:gd name="connsiteY173" fmla="*/ 1213494 h 6858000"/>
                <a:gd name="connsiteX174" fmla="*/ 351896 w 8262739"/>
                <a:gd name="connsiteY174" fmla="*/ 1001948 h 6858000"/>
                <a:gd name="connsiteX175" fmla="*/ 423824 w 8262739"/>
                <a:gd name="connsiteY175" fmla="*/ 786174 h 6858000"/>
                <a:gd name="connsiteX176" fmla="*/ 429212 w 8262739"/>
                <a:gd name="connsiteY176" fmla="*/ 780111 h 6858000"/>
                <a:gd name="connsiteX177" fmla="*/ 461904 w 8262739"/>
                <a:gd name="connsiteY177" fmla="*/ 608476 h 6858000"/>
                <a:gd name="connsiteX178" fmla="*/ 508442 w 8262739"/>
                <a:gd name="connsiteY178" fmla="*/ 485778 h 6858000"/>
                <a:gd name="connsiteX179" fmla="*/ 563446 w 8262739"/>
                <a:gd name="connsiteY179" fmla="*/ 384236 h 6858000"/>
                <a:gd name="connsiteX180" fmla="*/ 673449 w 8262739"/>
                <a:gd name="connsiteY180" fmla="*/ 172691 h 6858000"/>
                <a:gd name="connsiteX181" fmla="*/ 717872 w 8262739"/>
                <a:gd name="connsiteY181" fmla="*/ 77497 h 6858000"/>
                <a:gd name="connsiteX182" fmla="*/ 754037 w 8262739"/>
                <a:gd name="connsiteY182" fmla="*/ 0 h 6858000"/>
                <a:gd name="connsiteX183" fmla="*/ 1028695 w 8262739"/>
                <a:gd name="connsiteY183" fmla="*/ 0 h 6858000"/>
                <a:gd name="connsiteX184" fmla="*/ 986532 w 8262739"/>
                <a:gd name="connsiteY184" fmla="*/ 71149 h 6858000"/>
                <a:gd name="connsiteX185" fmla="*/ 859605 w 8262739"/>
                <a:gd name="connsiteY185" fmla="*/ 308080 h 6858000"/>
                <a:gd name="connsiteX186" fmla="*/ 721537 w 8262739"/>
                <a:gd name="connsiteY186" fmla="*/ 525648 h 6858000"/>
                <a:gd name="connsiteX187" fmla="*/ 719987 w 8262739"/>
                <a:gd name="connsiteY187" fmla="*/ 532320 h 6858000"/>
                <a:gd name="connsiteX188" fmla="*/ 673445 w 8262739"/>
                <a:gd name="connsiteY188" fmla="*/ 659247 h 6858000"/>
                <a:gd name="connsiteX189" fmla="*/ 639597 w 8262739"/>
                <a:gd name="connsiteY189" fmla="*/ 718480 h 6858000"/>
                <a:gd name="connsiteX190" fmla="*/ 631136 w 8262739"/>
                <a:gd name="connsiteY190" fmla="*/ 726942 h 6858000"/>
                <a:gd name="connsiteX191" fmla="*/ 593588 w 8262739"/>
                <a:gd name="connsiteY191" fmla="*/ 851755 h 6858000"/>
                <a:gd name="connsiteX192" fmla="*/ 584598 w 8262739"/>
                <a:gd name="connsiteY192" fmla="*/ 925796 h 6858000"/>
                <a:gd name="connsiteX193" fmla="*/ 576136 w 8262739"/>
                <a:gd name="connsiteY193" fmla="*/ 1031567 h 6858000"/>
                <a:gd name="connsiteX194" fmla="*/ 516903 w 8262739"/>
                <a:gd name="connsiteY194" fmla="*/ 1205036 h 6858000"/>
                <a:gd name="connsiteX195" fmla="*/ 461900 w 8262739"/>
                <a:gd name="connsiteY195" fmla="*/ 1378501 h 6858000"/>
                <a:gd name="connsiteX196" fmla="*/ 402667 w 8262739"/>
                <a:gd name="connsiteY196" fmla="*/ 1632355 h 6858000"/>
                <a:gd name="connsiteX197" fmla="*/ 368820 w 8262739"/>
                <a:gd name="connsiteY197" fmla="*/ 1865057 h 6858000"/>
                <a:gd name="connsiteX198" fmla="*/ 347667 w 8262739"/>
                <a:gd name="connsiteY198" fmla="*/ 2097755 h 6858000"/>
                <a:gd name="connsiteX199" fmla="*/ 377281 w 8262739"/>
                <a:gd name="connsiteY199" fmla="*/ 1936981 h 6858000"/>
                <a:gd name="connsiteX200" fmla="*/ 380027 w 8262739"/>
                <a:gd name="connsiteY200" fmla="*/ 1923713 h 6858000"/>
                <a:gd name="connsiteX201" fmla="*/ 385743 w 8262739"/>
                <a:gd name="connsiteY201" fmla="*/ 1860824 h 6858000"/>
                <a:gd name="connsiteX202" fmla="*/ 419590 w 8262739"/>
                <a:gd name="connsiteY202" fmla="*/ 1628127 h 6858000"/>
                <a:gd name="connsiteX203" fmla="*/ 430189 w 8262739"/>
                <a:gd name="connsiteY203" fmla="*/ 1631662 h 6858000"/>
                <a:gd name="connsiteX204" fmla="*/ 431108 w 8262739"/>
                <a:gd name="connsiteY204" fmla="*/ 1627731 h 6858000"/>
                <a:gd name="connsiteX205" fmla="*/ 419595 w 8262739"/>
                <a:gd name="connsiteY205" fmla="*/ 1623894 h 6858000"/>
                <a:gd name="connsiteX206" fmla="*/ 478828 w 8262739"/>
                <a:gd name="connsiteY206" fmla="*/ 1370039 h 6858000"/>
                <a:gd name="connsiteX207" fmla="*/ 533827 w 8262739"/>
                <a:gd name="connsiteY207" fmla="*/ 1196570 h 6858000"/>
                <a:gd name="connsiteX208" fmla="*/ 592789 w 8262739"/>
                <a:gd name="connsiteY208" fmla="*/ 1023900 h 6858000"/>
                <a:gd name="connsiteX209" fmla="*/ 588831 w 8262739"/>
                <a:gd name="connsiteY209" fmla="*/ 1023105 h 6858000"/>
                <a:gd name="connsiteX210" fmla="*/ 597293 w 8262739"/>
                <a:gd name="connsiteY210" fmla="*/ 917335 h 6858000"/>
                <a:gd name="connsiteX211" fmla="*/ 643831 w 8262739"/>
                <a:gd name="connsiteY211" fmla="*/ 718480 h 6858000"/>
                <a:gd name="connsiteX212" fmla="*/ 677678 w 8262739"/>
                <a:gd name="connsiteY212" fmla="*/ 659247 h 6858000"/>
                <a:gd name="connsiteX213" fmla="*/ 678815 w 8262739"/>
                <a:gd name="connsiteY213" fmla="*/ 656156 h 6858000"/>
                <a:gd name="connsiteX214" fmla="*/ 724220 w 8262739"/>
                <a:gd name="connsiteY214" fmla="*/ 532320 h 6858000"/>
                <a:gd name="connsiteX215" fmla="*/ 863838 w 8262739"/>
                <a:gd name="connsiteY215" fmla="*/ 312313 h 6858000"/>
                <a:gd name="connsiteX216" fmla="*/ 990765 w 8262739"/>
                <a:gd name="connsiteY216" fmla="*/ 75382 h 6858000"/>
                <a:gd name="connsiteX217" fmla="*/ 1024614 w 8262739"/>
                <a:gd name="connsiteY217" fmla="*/ 19852 h 6858000"/>
                <a:gd name="connsiteX218" fmla="*/ 1036060 w 8262739"/>
                <a:gd name="connsiteY218" fmla="*/ 0 h 6858000"/>
                <a:gd name="connsiteX219" fmla="*/ 1150037 w 8262739"/>
                <a:gd name="connsiteY219" fmla="*/ 0 h 6858000"/>
                <a:gd name="connsiteX220" fmla="*/ 1075780 w 8262739"/>
                <a:gd name="connsiteY220" fmla="*/ 117164 h 6858000"/>
                <a:gd name="connsiteX221" fmla="*/ 796143 w 8262739"/>
                <a:gd name="connsiteY221" fmla="*/ 655019 h 6858000"/>
                <a:gd name="connsiteX222" fmla="*/ 741139 w 8262739"/>
                <a:gd name="connsiteY222" fmla="*/ 828483 h 6858000"/>
                <a:gd name="connsiteX223" fmla="*/ 690368 w 8262739"/>
                <a:gd name="connsiteY223" fmla="*/ 1006181 h 6858000"/>
                <a:gd name="connsiteX224" fmla="*/ 580365 w 8262739"/>
                <a:gd name="connsiteY224" fmla="*/ 1378501 h 6858000"/>
                <a:gd name="connsiteX225" fmla="*/ 508442 w 8262739"/>
                <a:gd name="connsiteY225" fmla="*/ 1632355 h 6858000"/>
                <a:gd name="connsiteX226" fmla="*/ 474594 w 8262739"/>
                <a:gd name="connsiteY226" fmla="*/ 1822748 h 6858000"/>
                <a:gd name="connsiteX227" fmla="*/ 457671 w 8262739"/>
                <a:gd name="connsiteY227" fmla="*/ 1920057 h 6858000"/>
                <a:gd name="connsiteX228" fmla="*/ 444976 w 8262739"/>
                <a:gd name="connsiteY228" fmla="*/ 2017370 h 6858000"/>
                <a:gd name="connsiteX229" fmla="*/ 406900 w 8262739"/>
                <a:gd name="connsiteY229" fmla="*/ 2279686 h 6858000"/>
                <a:gd name="connsiteX230" fmla="*/ 394205 w 8262739"/>
                <a:gd name="connsiteY230" fmla="*/ 2440460 h 6858000"/>
                <a:gd name="connsiteX231" fmla="*/ 415362 w 8262739"/>
                <a:gd name="connsiteY231" fmla="*/ 2609697 h 6858000"/>
                <a:gd name="connsiteX232" fmla="*/ 425276 w 8262739"/>
                <a:gd name="connsiteY232" fmla="*/ 2517483 h 6858000"/>
                <a:gd name="connsiteX233" fmla="*/ 423824 w 8262739"/>
                <a:gd name="connsiteY233" fmla="*/ 2486998 h 6858000"/>
                <a:gd name="connsiteX234" fmla="*/ 440747 w 8262739"/>
                <a:gd name="connsiteY234" fmla="*/ 2309300 h 6858000"/>
                <a:gd name="connsiteX235" fmla="*/ 478823 w 8262739"/>
                <a:gd name="connsiteY235" fmla="*/ 2046984 h 6858000"/>
                <a:gd name="connsiteX236" fmla="*/ 509024 w 8262739"/>
                <a:gd name="connsiteY236" fmla="*/ 2010743 h 6858000"/>
                <a:gd name="connsiteX237" fmla="*/ 552878 w 8262739"/>
                <a:gd name="connsiteY237" fmla="*/ 1717258 h 6858000"/>
                <a:gd name="connsiteX238" fmla="*/ 550751 w 8262739"/>
                <a:gd name="connsiteY238" fmla="*/ 1666203 h 6858000"/>
                <a:gd name="connsiteX239" fmla="*/ 592549 w 8262739"/>
                <a:gd name="connsiteY239" fmla="*/ 1546374 h 6858000"/>
                <a:gd name="connsiteX240" fmla="*/ 617419 w 8262739"/>
                <a:gd name="connsiteY240" fmla="*/ 1445769 h 6858000"/>
                <a:gd name="connsiteX241" fmla="*/ 609983 w 8262739"/>
                <a:gd name="connsiteY241" fmla="*/ 1463119 h 6858000"/>
                <a:gd name="connsiteX242" fmla="*/ 584598 w 8262739"/>
                <a:gd name="connsiteY242" fmla="*/ 1454657 h 6858000"/>
                <a:gd name="connsiteX243" fmla="*/ 521132 w 8262739"/>
                <a:gd name="connsiteY243" fmla="*/ 1636589 h 6858000"/>
                <a:gd name="connsiteX244" fmla="*/ 525365 w 8262739"/>
                <a:gd name="connsiteY244" fmla="*/ 1738130 h 6858000"/>
                <a:gd name="connsiteX245" fmla="*/ 495747 w 8262739"/>
                <a:gd name="connsiteY245" fmla="*/ 1932752 h 6858000"/>
                <a:gd name="connsiteX246" fmla="*/ 491518 w 8262739"/>
                <a:gd name="connsiteY246" fmla="*/ 1966599 h 6858000"/>
                <a:gd name="connsiteX247" fmla="*/ 449209 w 8262739"/>
                <a:gd name="connsiteY247" fmla="*/ 2017370 h 6858000"/>
                <a:gd name="connsiteX248" fmla="*/ 461900 w 8262739"/>
                <a:gd name="connsiteY248" fmla="*/ 1920057 h 6858000"/>
                <a:gd name="connsiteX249" fmla="*/ 478823 w 8262739"/>
                <a:gd name="connsiteY249" fmla="*/ 1822748 h 6858000"/>
                <a:gd name="connsiteX250" fmla="*/ 512670 w 8262739"/>
                <a:gd name="connsiteY250" fmla="*/ 1632355 h 6858000"/>
                <a:gd name="connsiteX251" fmla="*/ 584598 w 8262739"/>
                <a:gd name="connsiteY251" fmla="*/ 1378501 h 6858000"/>
                <a:gd name="connsiteX252" fmla="*/ 694601 w 8262739"/>
                <a:gd name="connsiteY252" fmla="*/ 1006181 h 6858000"/>
                <a:gd name="connsiteX253" fmla="*/ 745372 w 8262739"/>
                <a:gd name="connsiteY253" fmla="*/ 828483 h 6858000"/>
                <a:gd name="connsiteX254" fmla="*/ 800372 w 8262739"/>
                <a:gd name="connsiteY254" fmla="*/ 655019 h 6858000"/>
                <a:gd name="connsiteX255" fmla="*/ 1078224 w 8262739"/>
                <a:gd name="connsiteY255" fmla="*/ 117164 h 6858000"/>
                <a:gd name="connsiteX256" fmla="*/ 1153691 w 8262739"/>
                <a:gd name="connsiteY256" fmla="*/ 0 h 6858000"/>
                <a:gd name="connsiteX257" fmla="*/ 8262739 w 8262739"/>
                <a:gd name="connsiteY257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8262739" h="6858000">
                  <a:moveTo>
                    <a:pt x="774160" y="294728"/>
                  </a:moveTo>
                  <a:lnTo>
                    <a:pt x="774822" y="291871"/>
                  </a:lnTo>
                  <a:lnTo>
                    <a:pt x="758067" y="278466"/>
                  </a:lnTo>
                  <a:cubicBezTo>
                    <a:pt x="796143" y="193848"/>
                    <a:pt x="817300" y="147306"/>
                    <a:pt x="846914" y="92306"/>
                  </a:cubicBezTo>
                  <a:lnTo>
                    <a:pt x="899364" y="54843"/>
                  </a:lnTo>
                  <a:lnTo>
                    <a:pt x="901914" y="49997"/>
                  </a:lnTo>
                  <a:cubicBezTo>
                    <a:pt x="884990" y="62692"/>
                    <a:pt x="863838" y="75382"/>
                    <a:pt x="842681" y="92306"/>
                  </a:cubicBezTo>
                  <a:cubicBezTo>
                    <a:pt x="813067" y="147310"/>
                    <a:pt x="791910" y="193848"/>
                    <a:pt x="753834" y="278466"/>
                  </a:cubicBezTo>
                  <a:close/>
                  <a:moveTo>
                    <a:pt x="674364" y="821039"/>
                  </a:moveTo>
                  <a:lnTo>
                    <a:pt x="674577" y="820652"/>
                  </a:lnTo>
                  <a:lnTo>
                    <a:pt x="681911" y="659247"/>
                  </a:lnTo>
                  <a:lnTo>
                    <a:pt x="719798" y="629253"/>
                  </a:lnTo>
                  <a:lnTo>
                    <a:pt x="721575" y="628045"/>
                  </a:lnTo>
                  <a:lnTo>
                    <a:pt x="724221" y="625399"/>
                  </a:lnTo>
                  <a:lnTo>
                    <a:pt x="758067" y="595781"/>
                  </a:lnTo>
                  <a:cubicBezTo>
                    <a:pt x="770758" y="566167"/>
                    <a:pt x="787681" y="532320"/>
                    <a:pt x="851147" y="422317"/>
                  </a:cubicBezTo>
                  <a:lnTo>
                    <a:pt x="854319" y="424431"/>
                  </a:lnTo>
                  <a:lnTo>
                    <a:pt x="855904" y="421259"/>
                  </a:lnTo>
                  <a:lnTo>
                    <a:pt x="851147" y="418088"/>
                  </a:lnTo>
                  <a:cubicBezTo>
                    <a:pt x="783453" y="528091"/>
                    <a:pt x="770758" y="561939"/>
                    <a:pt x="758067" y="591553"/>
                  </a:cubicBezTo>
                  <a:lnTo>
                    <a:pt x="724221" y="625399"/>
                  </a:lnTo>
                  <a:lnTo>
                    <a:pt x="719989" y="629102"/>
                  </a:lnTo>
                  <a:lnTo>
                    <a:pt x="719798" y="629253"/>
                  </a:lnTo>
                  <a:lnTo>
                    <a:pt x="681911" y="655019"/>
                  </a:lnTo>
                  <a:lnTo>
                    <a:pt x="681729" y="659070"/>
                  </a:lnTo>
                  <a:close/>
                  <a:moveTo>
                    <a:pt x="597990" y="1025570"/>
                  </a:moveTo>
                  <a:lnTo>
                    <a:pt x="598190" y="1024980"/>
                  </a:lnTo>
                  <a:lnTo>
                    <a:pt x="595885" y="1024518"/>
                  </a:lnTo>
                  <a:close/>
                  <a:moveTo>
                    <a:pt x="2119992" y="6660069"/>
                  </a:moveTo>
                  <a:lnTo>
                    <a:pt x="2120414" y="6658670"/>
                  </a:lnTo>
                  <a:lnTo>
                    <a:pt x="2111615" y="6649866"/>
                  </a:lnTo>
                  <a:close/>
                  <a:moveTo>
                    <a:pt x="1743929" y="6858000"/>
                  </a:moveTo>
                  <a:lnTo>
                    <a:pt x="1672367" y="6858000"/>
                  </a:lnTo>
                  <a:lnTo>
                    <a:pt x="1638095" y="6819444"/>
                  </a:lnTo>
                  <a:cubicBezTo>
                    <a:pt x="1642324" y="6810982"/>
                    <a:pt x="1684633" y="6836368"/>
                    <a:pt x="1663481" y="6785597"/>
                  </a:cubicBezTo>
                  <a:close/>
                  <a:moveTo>
                    <a:pt x="1901513" y="6858000"/>
                  </a:moveTo>
                  <a:lnTo>
                    <a:pt x="1795034" y="6858000"/>
                  </a:lnTo>
                  <a:lnTo>
                    <a:pt x="1731171" y="6781364"/>
                  </a:lnTo>
                  <a:lnTo>
                    <a:pt x="1698079" y="6745264"/>
                  </a:lnTo>
                  <a:lnTo>
                    <a:pt x="1793828" y="6858000"/>
                  </a:lnTo>
                  <a:lnTo>
                    <a:pt x="1748158" y="6858000"/>
                  </a:lnTo>
                  <a:lnTo>
                    <a:pt x="1667709" y="6785597"/>
                  </a:lnTo>
                  <a:cubicBezTo>
                    <a:pt x="1638095" y="6747517"/>
                    <a:pt x="1604248" y="6709441"/>
                    <a:pt x="1574630" y="6671360"/>
                  </a:cubicBezTo>
                  <a:cubicBezTo>
                    <a:pt x="1545015" y="6633284"/>
                    <a:pt x="1515397" y="6590975"/>
                    <a:pt x="1485783" y="6552895"/>
                  </a:cubicBezTo>
                  <a:cubicBezTo>
                    <a:pt x="1498473" y="6540204"/>
                    <a:pt x="1540782" y="6561357"/>
                    <a:pt x="1595786" y="6624823"/>
                  </a:cubicBezTo>
                  <a:lnTo>
                    <a:pt x="1601188" y="6631183"/>
                  </a:lnTo>
                  <a:lnTo>
                    <a:pt x="1651314" y="6642275"/>
                  </a:lnTo>
                  <a:cubicBezTo>
                    <a:pt x="1677228" y="6659727"/>
                    <a:pt x="1712133" y="6692517"/>
                    <a:pt x="1765018" y="6747517"/>
                  </a:cubicBezTo>
                  <a:cubicBezTo>
                    <a:pt x="1792520" y="6770788"/>
                    <a:pt x="1821079" y="6793001"/>
                    <a:pt x="1848052" y="6814155"/>
                  </a:cubicBezTo>
                  <a:close/>
                  <a:moveTo>
                    <a:pt x="8262739" y="6858000"/>
                  </a:moveTo>
                  <a:lnTo>
                    <a:pt x="2188465" y="6858000"/>
                  </a:lnTo>
                  <a:lnTo>
                    <a:pt x="2116185" y="6794059"/>
                  </a:lnTo>
                  <a:cubicBezTo>
                    <a:pt x="2090800" y="6768673"/>
                    <a:pt x="2023105" y="6743288"/>
                    <a:pt x="1976568" y="6679826"/>
                  </a:cubicBezTo>
                  <a:cubicBezTo>
                    <a:pt x="1904640" y="6603670"/>
                    <a:pt x="1845407" y="6531743"/>
                    <a:pt x="1773484" y="6455586"/>
                  </a:cubicBezTo>
                  <a:lnTo>
                    <a:pt x="1759550" y="6412038"/>
                  </a:lnTo>
                  <a:lnTo>
                    <a:pt x="1718480" y="6370968"/>
                  </a:lnTo>
                  <a:cubicBezTo>
                    <a:pt x="1671943" y="6324431"/>
                    <a:pt x="1625400" y="6273660"/>
                    <a:pt x="1578863" y="6218656"/>
                  </a:cubicBezTo>
                  <a:cubicBezTo>
                    <a:pt x="1570401" y="6189042"/>
                    <a:pt x="1506935" y="6108652"/>
                    <a:pt x="1561939" y="6142499"/>
                  </a:cubicBezTo>
                  <a:cubicBezTo>
                    <a:pt x="1540782" y="6117114"/>
                    <a:pt x="1523859" y="6087500"/>
                    <a:pt x="1506935" y="6066343"/>
                  </a:cubicBezTo>
                  <a:lnTo>
                    <a:pt x="1500383" y="6056069"/>
                  </a:lnTo>
                  <a:lnTo>
                    <a:pt x="1435007" y="6011339"/>
                  </a:lnTo>
                  <a:cubicBezTo>
                    <a:pt x="1384237" y="5952106"/>
                    <a:pt x="1341928" y="5888645"/>
                    <a:pt x="1308080" y="5829412"/>
                  </a:cubicBezTo>
                  <a:cubicBezTo>
                    <a:pt x="1274233" y="5765947"/>
                    <a:pt x="1248848" y="5706714"/>
                    <a:pt x="1236157" y="5660176"/>
                  </a:cubicBezTo>
                  <a:lnTo>
                    <a:pt x="1227695" y="5660176"/>
                  </a:lnTo>
                  <a:cubicBezTo>
                    <a:pt x="1193848" y="5600944"/>
                    <a:pt x="1160001" y="5537482"/>
                    <a:pt x="1130387" y="5474016"/>
                  </a:cubicBezTo>
                  <a:cubicBezTo>
                    <a:pt x="1100768" y="5410555"/>
                    <a:pt x="1066921" y="5351322"/>
                    <a:pt x="1037307" y="5287856"/>
                  </a:cubicBezTo>
                  <a:cubicBezTo>
                    <a:pt x="1003460" y="5215933"/>
                    <a:pt x="969612" y="5144006"/>
                    <a:pt x="939994" y="5072083"/>
                  </a:cubicBezTo>
                  <a:cubicBezTo>
                    <a:pt x="910380" y="5000155"/>
                    <a:pt x="880761" y="4923999"/>
                    <a:pt x="851147" y="4852075"/>
                  </a:cubicBezTo>
                  <a:lnTo>
                    <a:pt x="898733" y="4922927"/>
                  </a:lnTo>
                  <a:lnTo>
                    <a:pt x="898752" y="4922958"/>
                  </a:lnTo>
                  <a:lnTo>
                    <a:pt x="939994" y="5000155"/>
                  </a:lnTo>
                  <a:cubicBezTo>
                    <a:pt x="965379" y="5055159"/>
                    <a:pt x="990765" y="5114392"/>
                    <a:pt x="1028845" y="5186315"/>
                  </a:cubicBezTo>
                  <a:cubicBezTo>
                    <a:pt x="1045769" y="5211700"/>
                    <a:pt x="1049997" y="5254009"/>
                    <a:pt x="1058459" y="5287856"/>
                  </a:cubicBezTo>
                  <a:lnTo>
                    <a:pt x="1070701" y="5305806"/>
                  </a:lnTo>
                  <a:lnTo>
                    <a:pt x="1055634" y="5227473"/>
                  </a:lnTo>
                  <a:lnTo>
                    <a:pt x="1016346" y="5156168"/>
                  </a:lnTo>
                  <a:lnTo>
                    <a:pt x="952391" y="5012357"/>
                  </a:lnTo>
                  <a:lnTo>
                    <a:pt x="898752" y="4922958"/>
                  </a:lnTo>
                  <a:lnTo>
                    <a:pt x="898743" y="4922942"/>
                  </a:lnTo>
                  <a:lnTo>
                    <a:pt x="898733" y="4922927"/>
                  </a:lnTo>
                  <a:lnTo>
                    <a:pt x="876528" y="4885918"/>
                  </a:lnTo>
                  <a:cubicBezTo>
                    <a:pt x="846914" y="4801300"/>
                    <a:pt x="813067" y="4716683"/>
                    <a:pt x="783448" y="4632064"/>
                  </a:cubicBezTo>
                  <a:lnTo>
                    <a:pt x="703703" y="4371836"/>
                  </a:lnTo>
                  <a:lnTo>
                    <a:pt x="677518" y="4295977"/>
                  </a:lnTo>
                  <a:cubicBezTo>
                    <a:pt x="633148" y="4146823"/>
                    <a:pt x="595032" y="3994972"/>
                    <a:pt x="563468" y="3840737"/>
                  </a:cubicBezTo>
                  <a:lnTo>
                    <a:pt x="513030" y="3510255"/>
                  </a:lnTo>
                  <a:lnTo>
                    <a:pt x="512670" y="3519338"/>
                  </a:lnTo>
                  <a:cubicBezTo>
                    <a:pt x="512670" y="3540495"/>
                    <a:pt x="512670" y="3557419"/>
                    <a:pt x="516903" y="3587033"/>
                  </a:cubicBezTo>
                  <a:cubicBezTo>
                    <a:pt x="525365" y="3637804"/>
                    <a:pt x="533827" y="3688575"/>
                    <a:pt x="538056" y="3743579"/>
                  </a:cubicBezTo>
                  <a:cubicBezTo>
                    <a:pt x="546518" y="3798579"/>
                    <a:pt x="554979" y="3853583"/>
                    <a:pt x="563441" y="3904353"/>
                  </a:cubicBezTo>
                  <a:cubicBezTo>
                    <a:pt x="542289" y="3866273"/>
                    <a:pt x="533827" y="3815502"/>
                    <a:pt x="521132" y="3764731"/>
                  </a:cubicBezTo>
                  <a:cubicBezTo>
                    <a:pt x="512670" y="3709731"/>
                    <a:pt x="504209" y="3650499"/>
                    <a:pt x="491518" y="3587033"/>
                  </a:cubicBezTo>
                  <a:cubicBezTo>
                    <a:pt x="470361" y="3587033"/>
                    <a:pt x="466133" y="3587033"/>
                    <a:pt x="457671" y="3587033"/>
                  </a:cubicBezTo>
                  <a:cubicBezTo>
                    <a:pt x="453438" y="3540495"/>
                    <a:pt x="449209" y="3498186"/>
                    <a:pt x="436514" y="3426258"/>
                  </a:cubicBezTo>
                  <a:cubicBezTo>
                    <a:pt x="428052" y="3392411"/>
                    <a:pt x="415362" y="3358564"/>
                    <a:pt x="406900" y="3324717"/>
                  </a:cubicBezTo>
                  <a:cubicBezTo>
                    <a:pt x="398438" y="3290869"/>
                    <a:pt x="389976" y="3257022"/>
                    <a:pt x="381515" y="3227408"/>
                  </a:cubicBezTo>
                  <a:cubicBezTo>
                    <a:pt x="356129" y="3197790"/>
                    <a:pt x="334972" y="3176637"/>
                    <a:pt x="309587" y="3151252"/>
                  </a:cubicBezTo>
                  <a:cubicBezTo>
                    <a:pt x="301125" y="3151252"/>
                    <a:pt x="296896" y="3151252"/>
                    <a:pt x="288435" y="3151252"/>
                  </a:cubicBezTo>
                  <a:cubicBezTo>
                    <a:pt x="279973" y="3125866"/>
                    <a:pt x="271511" y="3087786"/>
                    <a:pt x="267278" y="3045477"/>
                  </a:cubicBezTo>
                  <a:cubicBezTo>
                    <a:pt x="263049" y="3003168"/>
                    <a:pt x="258816" y="2956630"/>
                    <a:pt x="258816" y="2910088"/>
                  </a:cubicBezTo>
                  <a:cubicBezTo>
                    <a:pt x="258816" y="2821242"/>
                    <a:pt x="263049" y="2740852"/>
                    <a:pt x="275740" y="2719700"/>
                  </a:cubicBezTo>
                  <a:cubicBezTo>
                    <a:pt x="279973" y="2694315"/>
                    <a:pt x="279973" y="2673158"/>
                    <a:pt x="284202" y="2652006"/>
                  </a:cubicBezTo>
                  <a:lnTo>
                    <a:pt x="298611" y="2605575"/>
                  </a:lnTo>
                  <a:lnTo>
                    <a:pt x="291606" y="2499693"/>
                  </a:lnTo>
                  <a:cubicBezTo>
                    <a:pt x="292663" y="2446808"/>
                    <a:pt x="296892" y="2391804"/>
                    <a:pt x="301125" y="2343147"/>
                  </a:cubicBezTo>
                  <a:lnTo>
                    <a:pt x="318049" y="2311419"/>
                  </a:lnTo>
                  <a:lnTo>
                    <a:pt x="318049" y="2292377"/>
                  </a:lnTo>
                  <a:cubicBezTo>
                    <a:pt x="309587" y="2317762"/>
                    <a:pt x="296896" y="2334686"/>
                    <a:pt x="284202" y="2355842"/>
                  </a:cubicBezTo>
                  <a:cubicBezTo>
                    <a:pt x="275740" y="2338919"/>
                    <a:pt x="263049" y="2330457"/>
                    <a:pt x="254587" y="2313533"/>
                  </a:cubicBezTo>
                  <a:cubicBezTo>
                    <a:pt x="237664" y="2288148"/>
                    <a:pt x="241892" y="2059679"/>
                    <a:pt x="199583" y="2237377"/>
                  </a:cubicBezTo>
                  <a:lnTo>
                    <a:pt x="189536" y="2177087"/>
                  </a:lnTo>
                  <a:lnTo>
                    <a:pt x="186893" y="2182373"/>
                  </a:lnTo>
                  <a:cubicBezTo>
                    <a:pt x="182660" y="2237377"/>
                    <a:pt x="174198" y="2296610"/>
                    <a:pt x="169969" y="2351609"/>
                  </a:cubicBezTo>
                  <a:cubicBezTo>
                    <a:pt x="165736" y="2406613"/>
                    <a:pt x="157274" y="2465846"/>
                    <a:pt x="157274" y="2520845"/>
                  </a:cubicBezTo>
                  <a:cubicBezTo>
                    <a:pt x="153046" y="2563154"/>
                    <a:pt x="148813" y="2609697"/>
                    <a:pt x="144584" y="2652006"/>
                  </a:cubicBezTo>
                  <a:lnTo>
                    <a:pt x="144584" y="2922779"/>
                  </a:lnTo>
                  <a:cubicBezTo>
                    <a:pt x="144584" y="2969321"/>
                    <a:pt x="144584" y="3015859"/>
                    <a:pt x="148813" y="3062401"/>
                  </a:cubicBezTo>
                  <a:cubicBezTo>
                    <a:pt x="153046" y="3108938"/>
                    <a:pt x="157274" y="3155481"/>
                    <a:pt x="157274" y="3202018"/>
                  </a:cubicBezTo>
                  <a:cubicBezTo>
                    <a:pt x="140351" y="3206251"/>
                    <a:pt x="144584" y="3362793"/>
                    <a:pt x="119198" y="3333179"/>
                  </a:cubicBezTo>
                  <a:cubicBezTo>
                    <a:pt x="114965" y="3333179"/>
                    <a:pt x="114965" y="3333179"/>
                    <a:pt x="110737" y="3333179"/>
                  </a:cubicBezTo>
                  <a:cubicBezTo>
                    <a:pt x="85351" y="3240099"/>
                    <a:pt x="85351" y="3159709"/>
                    <a:pt x="85351" y="3079324"/>
                  </a:cubicBezTo>
                  <a:cubicBezTo>
                    <a:pt x="85351" y="2998935"/>
                    <a:pt x="98042" y="2918550"/>
                    <a:pt x="85351" y="2817009"/>
                  </a:cubicBezTo>
                  <a:cubicBezTo>
                    <a:pt x="89580" y="2745081"/>
                    <a:pt x="98042" y="2681620"/>
                    <a:pt x="106504" y="2613925"/>
                  </a:cubicBezTo>
                  <a:lnTo>
                    <a:pt x="144566" y="2651983"/>
                  </a:lnTo>
                  <a:lnTo>
                    <a:pt x="110737" y="2609697"/>
                  </a:lnTo>
                  <a:cubicBezTo>
                    <a:pt x="102275" y="2567388"/>
                    <a:pt x="102275" y="2520845"/>
                    <a:pt x="102275" y="2457384"/>
                  </a:cubicBezTo>
                  <a:cubicBezTo>
                    <a:pt x="102275" y="2393918"/>
                    <a:pt x="106504" y="2317762"/>
                    <a:pt x="110737" y="2224682"/>
                  </a:cubicBezTo>
                  <a:cubicBezTo>
                    <a:pt x="110737" y="2203530"/>
                    <a:pt x="114965" y="2182373"/>
                    <a:pt x="114965" y="2161221"/>
                  </a:cubicBezTo>
                  <a:cubicBezTo>
                    <a:pt x="119198" y="2127373"/>
                    <a:pt x="123427" y="2089293"/>
                    <a:pt x="127660" y="2055446"/>
                  </a:cubicBezTo>
                  <a:cubicBezTo>
                    <a:pt x="144584" y="1996213"/>
                    <a:pt x="161508" y="1924290"/>
                    <a:pt x="178431" y="1865057"/>
                  </a:cubicBezTo>
                  <a:lnTo>
                    <a:pt x="203728" y="1738579"/>
                  </a:lnTo>
                  <a:lnTo>
                    <a:pt x="195355" y="1708512"/>
                  </a:lnTo>
                  <a:cubicBezTo>
                    <a:pt x="186893" y="1763516"/>
                    <a:pt x="174198" y="1814287"/>
                    <a:pt x="165736" y="1877748"/>
                  </a:cubicBezTo>
                  <a:cubicBezTo>
                    <a:pt x="148813" y="1936981"/>
                    <a:pt x="131889" y="2008908"/>
                    <a:pt x="114965" y="2068141"/>
                  </a:cubicBezTo>
                  <a:cubicBezTo>
                    <a:pt x="110737" y="2101988"/>
                    <a:pt x="106504" y="2140064"/>
                    <a:pt x="102275" y="2173911"/>
                  </a:cubicBezTo>
                  <a:cubicBezTo>
                    <a:pt x="102275" y="2195068"/>
                    <a:pt x="98042" y="2216220"/>
                    <a:pt x="98042" y="2237377"/>
                  </a:cubicBezTo>
                  <a:cubicBezTo>
                    <a:pt x="98042" y="2330457"/>
                    <a:pt x="93813" y="2406613"/>
                    <a:pt x="89580" y="2470075"/>
                  </a:cubicBezTo>
                  <a:cubicBezTo>
                    <a:pt x="89580" y="2533540"/>
                    <a:pt x="93813" y="2580078"/>
                    <a:pt x="98042" y="2622387"/>
                  </a:cubicBezTo>
                  <a:cubicBezTo>
                    <a:pt x="89580" y="2694315"/>
                    <a:pt x="81118" y="2757776"/>
                    <a:pt x="76889" y="2825470"/>
                  </a:cubicBezTo>
                  <a:cubicBezTo>
                    <a:pt x="89580" y="2927012"/>
                    <a:pt x="76889" y="3007401"/>
                    <a:pt x="76889" y="3087786"/>
                  </a:cubicBezTo>
                  <a:cubicBezTo>
                    <a:pt x="76889" y="3168175"/>
                    <a:pt x="76889" y="3248560"/>
                    <a:pt x="102275" y="3341640"/>
                  </a:cubicBezTo>
                  <a:cubicBezTo>
                    <a:pt x="102275" y="3341640"/>
                    <a:pt x="106504" y="3341640"/>
                    <a:pt x="110737" y="3341640"/>
                  </a:cubicBezTo>
                  <a:cubicBezTo>
                    <a:pt x="127660" y="3422030"/>
                    <a:pt x="144584" y="3498186"/>
                    <a:pt x="165736" y="3582805"/>
                  </a:cubicBezTo>
                  <a:cubicBezTo>
                    <a:pt x="169969" y="3637804"/>
                    <a:pt x="182660" y="3688575"/>
                    <a:pt x="195355" y="3781654"/>
                  </a:cubicBezTo>
                  <a:cubicBezTo>
                    <a:pt x="216507" y="3853583"/>
                    <a:pt x="237664" y="3921276"/>
                    <a:pt x="258816" y="3984738"/>
                  </a:cubicBezTo>
                  <a:cubicBezTo>
                    <a:pt x="268335" y="4105318"/>
                    <a:pt x="332592" y="4297296"/>
                    <a:pt x="358772" y="4421447"/>
                  </a:cubicBezTo>
                  <a:lnTo>
                    <a:pt x="367496" y="4505141"/>
                  </a:lnTo>
                  <a:lnTo>
                    <a:pt x="385748" y="4505141"/>
                  </a:lnTo>
                  <a:cubicBezTo>
                    <a:pt x="432285" y="4623607"/>
                    <a:pt x="461904" y="4687068"/>
                    <a:pt x="478828" y="4729378"/>
                  </a:cubicBezTo>
                  <a:cubicBezTo>
                    <a:pt x="499980" y="4771686"/>
                    <a:pt x="508442" y="4801305"/>
                    <a:pt x="512675" y="4843614"/>
                  </a:cubicBezTo>
                  <a:cubicBezTo>
                    <a:pt x="495751" y="4839381"/>
                    <a:pt x="474594" y="4797072"/>
                    <a:pt x="449209" y="4746301"/>
                  </a:cubicBezTo>
                  <a:cubicBezTo>
                    <a:pt x="423824" y="4695530"/>
                    <a:pt x="402671" y="4636297"/>
                    <a:pt x="381515" y="4593989"/>
                  </a:cubicBezTo>
                  <a:cubicBezTo>
                    <a:pt x="360362" y="4538989"/>
                    <a:pt x="398438" y="4691301"/>
                    <a:pt x="377286" y="4636297"/>
                  </a:cubicBezTo>
                  <a:lnTo>
                    <a:pt x="340476" y="4522194"/>
                  </a:lnTo>
                  <a:lnTo>
                    <a:pt x="313820" y="4526294"/>
                  </a:lnTo>
                  <a:cubicBezTo>
                    <a:pt x="301125" y="4492447"/>
                    <a:pt x="292663" y="4458599"/>
                    <a:pt x="284202" y="4428985"/>
                  </a:cubicBezTo>
                  <a:cubicBezTo>
                    <a:pt x="237664" y="4382443"/>
                    <a:pt x="203817" y="4285134"/>
                    <a:pt x="182660" y="4196284"/>
                  </a:cubicBezTo>
                  <a:cubicBezTo>
                    <a:pt x="161508" y="4107436"/>
                    <a:pt x="144584" y="4022818"/>
                    <a:pt x="119198" y="3988971"/>
                  </a:cubicBezTo>
                  <a:cubicBezTo>
                    <a:pt x="98042" y="3912815"/>
                    <a:pt x="98042" y="3832426"/>
                    <a:pt x="114965" y="3815502"/>
                  </a:cubicBezTo>
                  <a:cubicBezTo>
                    <a:pt x="106504" y="3747807"/>
                    <a:pt x="93813" y="3680113"/>
                    <a:pt x="85351" y="3612418"/>
                  </a:cubicBezTo>
                  <a:cubicBezTo>
                    <a:pt x="76889" y="3544724"/>
                    <a:pt x="72656" y="3477029"/>
                    <a:pt x="64195" y="3409335"/>
                  </a:cubicBezTo>
                  <a:cubicBezTo>
                    <a:pt x="47271" y="3358564"/>
                    <a:pt x="30347" y="3316255"/>
                    <a:pt x="17657" y="3261255"/>
                  </a:cubicBezTo>
                  <a:cubicBezTo>
                    <a:pt x="-7729" y="2973554"/>
                    <a:pt x="-11962" y="2639311"/>
                    <a:pt x="47271" y="2474308"/>
                  </a:cubicBezTo>
                  <a:cubicBezTo>
                    <a:pt x="51504" y="2402380"/>
                    <a:pt x="55733" y="2313533"/>
                    <a:pt x="76889" y="2271224"/>
                  </a:cubicBezTo>
                  <a:cubicBezTo>
                    <a:pt x="68428" y="2233144"/>
                    <a:pt x="59966" y="2199297"/>
                    <a:pt x="51504" y="2161221"/>
                  </a:cubicBezTo>
                  <a:cubicBezTo>
                    <a:pt x="59966" y="2089293"/>
                    <a:pt x="51504" y="1924290"/>
                    <a:pt x="102275" y="1856596"/>
                  </a:cubicBezTo>
                  <a:cubicBezTo>
                    <a:pt x="106504" y="1826977"/>
                    <a:pt x="110737" y="1805825"/>
                    <a:pt x="114965" y="1784668"/>
                  </a:cubicBezTo>
                  <a:cubicBezTo>
                    <a:pt x="123427" y="1678898"/>
                    <a:pt x="131889" y="1606970"/>
                    <a:pt x="148813" y="1539276"/>
                  </a:cubicBezTo>
                  <a:cubicBezTo>
                    <a:pt x="178431" y="1480043"/>
                    <a:pt x="216507" y="1382734"/>
                    <a:pt x="237664" y="1361578"/>
                  </a:cubicBezTo>
                  <a:cubicBezTo>
                    <a:pt x="258816" y="1408120"/>
                    <a:pt x="208045" y="1526585"/>
                    <a:pt x="216507" y="1602741"/>
                  </a:cubicBezTo>
                  <a:lnTo>
                    <a:pt x="237655" y="1561405"/>
                  </a:lnTo>
                  <a:lnTo>
                    <a:pt x="250354" y="1462591"/>
                  </a:lnTo>
                  <a:cubicBezTo>
                    <a:pt x="258816" y="1417634"/>
                    <a:pt x="265164" y="1376387"/>
                    <a:pt x="254587" y="1353116"/>
                  </a:cubicBezTo>
                  <a:cubicBezTo>
                    <a:pt x="267278" y="1302345"/>
                    <a:pt x="279973" y="1264264"/>
                    <a:pt x="292663" y="1213494"/>
                  </a:cubicBezTo>
                  <a:cubicBezTo>
                    <a:pt x="313820" y="1145799"/>
                    <a:pt x="330744" y="1073876"/>
                    <a:pt x="351896" y="1001948"/>
                  </a:cubicBezTo>
                  <a:cubicBezTo>
                    <a:pt x="373053" y="930025"/>
                    <a:pt x="398438" y="858098"/>
                    <a:pt x="423824" y="786174"/>
                  </a:cubicBezTo>
                  <a:lnTo>
                    <a:pt x="429212" y="780111"/>
                  </a:lnTo>
                  <a:lnTo>
                    <a:pt x="461904" y="608476"/>
                  </a:lnTo>
                  <a:cubicBezTo>
                    <a:pt x="478828" y="574629"/>
                    <a:pt x="495751" y="528087"/>
                    <a:pt x="508442" y="485778"/>
                  </a:cubicBezTo>
                  <a:cubicBezTo>
                    <a:pt x="525365" y="443469"/>
                    <a:pt x="546522" y="409622"/>
                    <a:pt x="563446" y="384236"/>
                  </a:cubicBezTo>
                  <a:cubicBezTo>
                    <a:pt x="601522" y="312313"/>
                    <a:pt x="631140" y="240385"/>
                    <a:pt x="673449" y="172691"/>
                  </a:cubicBezTo>
                  <a:cubicBezTo>
                    <a:pt x="688256" y="138844"/>
                    <a:pt x="703064" y="108171"/>
                    <a:pt x="717872" y="77497"/>
                  </a:cubicBezTo>
                  <a:lnTo>
                    <a:pt x="754037" y="0"/>
                  </a:lnTo>
                  <a:lnTo>
                    <a:pt x="1028695" y="0"/>
                  </a:lnTo>
                  <a:lnTo>
                    <a:pt x="986532" y="71149"/>
                  </a:lnTo>
                  <a:cubicBezTo>
                    <a:pt x="944223" y="151539"/>
                    <a:pt x="901914" y="231924"/>
                    <a:pt x="859605" y="308080"/>
                  </a:cubicBezTo>
                  <a:lnTo>
                    <a:pt x="721537" y="525648"/>
                  </a:lnTo>
                  <a:lnTo>
                    <a:pt x="719987" y="532320"/>
                  </a:lnTo>
                  <a:cubicBezTo>
                    <a:pt x="703063" y="570400"/>
                    <a:pt x="690368" y="616938"/>
                    <a:pt x="673445" y="659247"/>
                  </a:cubicBezTo>
                  <a:cubicBezTo>
                    <a:pt x="660754" y="684633"/>
                    <a:pt x="652292" y="701556"/>
                    <a:pt x="639597" y="718480"/>
                  </a:cubicBezTo>
                  <a:lnTo>
                    <a:pt x="631136" y="726942"/>
                  </a:lnTo>
                  <a:lnTo>
                    <a:pt x="593588" y="851755"/>
                  </a:lnTo>
                  <a:cubicBezTo>
                    <a:pt x="586717" y="883487"/>
                    <a:pt x="584598" y="906758"/>
                    <a:pt x="584598" y="925796"/>
                  </a:cubicBezTo>
                  <a:cubicBezTo>
                    <a:pt x="584598" y="963872"/>
                    <a:pt x="588827" y="989258"/>
                    <a:pt x="576136" y="1031567"/>
                  </a:cubicBezTo>
                  <a:cubicBezTo>
                    <a:pt x="554979" y="1090800"/>
                    <a:pt x="538056" y="1145803"/>
                    <a:pt x="516903" y="1205036"/>
                  </a:cubicBezTo>
                  <a:cubicBezTo>
                    <a:pt x="499980" y="1264269"/>
                    <a:pt x="478823" y="1319268"/>
                    <a:pt x="461900" y="1378501"/>
                  </a:cubicBezTo>
                  <a:cubicBezTo>
                    <a:pt x="440747" y="1467352"/>
                    <a:pt x="423824" y="1547737"/>
                    <a:pt x="402667" y="1632355"/>
                  </a:cubicBezTo>
                  <a:cubicBezTo>
                    <a:pt x="389976" y="1712745"/>
                    <a:pt x="381515" y="1788901"/>
                    <a:pt x="368820" y="1865057"/>
                  </a:cubicBezTo>
                  <a:cubicBezTo>
                    <a:pt x="356129" y="1941214"/>
                    <a:pt x="351896" y="2021599"/>
                    <a:pt x="347667" y="2097755"/>
                  </a:cubicBezTo>
                  <a:cubicBezTo>
                    <a:pt x="360358" y="2038522"/>
                    <a:pt x="368820" y="1983523"/>
                    <a:pt x="377281" y="1936981"/>
                  </a:cubicBezTo>
                  <a:lnTo>
                    <a:pt x="380027" y="1923713"/>
                  </a:lnTo>
                  <a:lnTo>
                    <a:pt x="385743" y="1860824"/>
                  </a:lnTo>
                  <a:cubicBezTo>
                    <a:pt x="398438" y="1784668"/>
                    <a:pt x="406900" y="1704283"/>
                    <a:pt x="419590" y="1628127"/>
                  </a:cubicBezTo>
                  <a:lnTo>
                    <a:pt x="430189" y="1631662"/>
                  </a:lnTo>
                  <a:lnTo>
                    <a:pt x="431108" y="1627731"/>
                  </a:lnTo>
                  <a:lnTo>
                    <a:pt x="419595" y="1623894"/>
                  </a:lnTo>
                  <a:cubicBezTo>
                    <a:pt x="440747" y="1535042"/>
                    <a:pt x="457671" y="1454657"/>
                    <a:pt x="478828" y="1370039"/>
                  </a:cubicBezTo>
                  <a:cubicBezTo>
                    <a:pt x="495751" y="1310807"/>
                    <a:pt x="512675" y="1251574"/>
                    <a:pt x="533827" y="1196570"/>
                  </a:cubicBezTo>
                  <a:lnTo>
                    <a:pt x="592789" y="1023900"/>
                  </a:lnTo>
                  <a:lnTo>
                    <a:pt x="588831" y="1023105"/>
                  </a:lnTo>
                  <a:cubicBezTo>
                    <a:pt x="601522" y="980796"/>
                    <a:pt x="597293" y="955411"/>
                    <a:pt x="597293" y="917335"/>
                  </a:cubicBezTo>
                  <a:cubicBezTo>
                    <a:pt x="597293" y="879254"/>
                    <a:pt x="601522" y="824255"/>
                    <a:pt x="643831" y="718480"/>
                  </a:cubicBezTo>
                  <a:cubicBezTo>
                    <a:pt x="652292" y="701556"/>
                    <a:pt x="660754" y="680404"/>
                    <a:pt x="677678" y="659247"/>
                  </a:cubicBezTo>
                  <a:lnTo>
                    <a:pt x="678815" y="656156"/>
                  </a:lnTo>
                  <a:lnTo>
                    <a:pt x="724220" y="532320"/>
                  </a:lnTo>
                  <a:cubicBezTo>
                    <a:pt x="770758" y="456164"/>
                    <a:pt x="813067" y="384241"/>
                    <a:pt x="863838" y="312313"/>
                  </a:cubicBezTo>
                  <a:cubicBezTo>
                    <a:pt x="906147" y="231928"/>
                    <a:pt x="944227" y="151539"/>
                    <a:pt x="990765" y="75382"/>
                  </a:cubicBezTo>
                  <a:cubicBezTo>
                    <a:pt x="1001343" y="58459"/>
                    <a:pt x="1012979" y="39420"/>
                    <a:pt x="1024614" y="19852"/>
                  </a:cubicBezTo>
                  <a:lnTo>
                    <a:pt x="1036060" y="0"/>
                  </a:lnTo>
                  <a:lnTo>
                    <a:pt x="1150037" y="0"/>
                  </a:lnTo>
                  <a:lnTo>
                    <a:pt x="1075780" y="117164"/>
                  </a:lnTo>
                  <a:cubicBezTo>
                    <a:pt x="975428" y="298827"/>
                    <a:pt x="897685" y="499531"/>
                    <a:pt x="796143" y="655019"/>
                  </a:cubicBezTo>
                  <a:cubicBezTo>
                    <a:pt x="779220" y="710018"/>
                    <a:pt x="762296" y="769251"/>
                    <a:pt x="741139" y="828483"/>
                  </a:cubicBezTo>
                  <a:cubicBezTo>
                    <a:pt x="719987" y="887716"/>
                    <a:pt x="707292" y="946949"/>
                    <a:pt x="690368" y="1006181"/>
                  </a:cubicBezTo>
                  <a:cubicBezTo>
                    <a:pt x="648059" y="1133109"/>
                    <a:pt x="584598" y="1268497"/>
                    <a:pt x="580365" y="1378501"/>
                  </a:cubicBezTo>
                  <a:cubicBezTo>
                    <a:pt x="554979" y="1463119"/>
                    <a:pt x="529594" y="1547737"/>
                    <a:pt x="508442" y="1632355"/>
                  </a:cubicBezTo>
                  <a:cubicBezTo>
                    <a:pt x="495747" y="1695821"/>
                    <a:pt x="487285" y="1759283"/>
                    <a:pt x="474594" y="1822748"/>
                  </a:cubicBezTo>
                  <a:lnTo>
                    <a:pt x="457671" y="1920057"/>
                  </a:lnTo>
                  <a:cubicBezTo>
                    <a:pt x="453438" y="1953904"/>
                    <a:pt x="449209" y="1983523"/>
                    <a:pt x="444976" y="2017370"/>
                  </a:cubicBezTo>
                  <a:cubicBezTo>
                    <a:pt x="432285" y="2106217"/>
                    <a:pt x="415362" y="2190835"/>
                    <a:pt x="406900" y="2279686"/>
                  </a:cubicBezTo>
                  <a:cubicBezTo>
                    <a:pt x="402667" y="2334686"/>
                    <a:pt x="398438" y="2381228"/>
                    <a:pt x="394205" y="2440460"/>
                  </a:cubicBezTo>
                  <a:cubicBezTo>
                    <a:pt x="398438" y="2482769"/>
                    <a:pt x="406900" y="2525078"/>
                    <a:pt x="415362" y="2609697"/>
                  </a:cubicBezTo>
                  <a:lnTo>
                    <a:pt x="425276" y="2517483"/>
                  </a:lnTo>
                  <a:lnTo>
                    <a:pt x="423824" y="2486998"/>
                  </a:lnTo>
                  <a:cubicBezTo>
                    <a:pt x="428052" y="2427765"/>
                    <a:pt x="436514" y="2364300"/>
                    <a:pt x="440747" y="2309300"/>
                  </a:cubicBezTo>
                  <a:cubicBezTo>
                    <a:pt x="449209" y="2220449"/>
                    <a:pt x="466133" y="2135831"/>
                    <a:pt x="478823" y="2046984"/>
                  </a:cubicBezTo>
                  <a:lnTo>
                    <a:pt x="509024" y="2010743"/>
                  </a:lnTo>
                  <a:lnTo>
                    <a:pt x="552878" y="1717258"/>
                  </a:lnTo>
                  <a:lnTo>
                    <a:pt x="550751" y="1666203"/>
                  </a:lnTo>
                  <a:lnTo>
                    <a:pt x="592549" y="1546374"/>
                  </a:lnTo>
                  <a:lnTo>
                    <a:pt x="617419" y="1445769"/>
                  </a:lnTo>
                  <a:lnTo>
                    <a:pt x="609983" y="1463119"/>
                  </a:lnTo>
                  <a:cubicBezTo>
                    <a:pt x="601522" y="1458891"/>
                    <a:pt x="593060" y="1454657"/>
                    <a:pt x="584598" y="1454657"/>
                  </a:cubicBezTo>
                  <a:cubicBezTo>
                    <a:pt x="563441" y="1509661"/>
                    <a:pt x="542289" y="1573123"/>
                    <a:pt x="521132" y="1636589"/>
                  </a:cubicBezTo>
                  <a:cubicBezTo>
                    <a:pt x="521132" y="1666203"/>
                    <a:pt x="521132" y="1700050"/>
                    <a:pt x="525365" y="1738130"/>
                  </a:cubicBezTo>
                  <a:cubicBezTo>
                    <a:pt x="512670" y="1805825"/>
                    <a:pt x="504209" y="1865057"/>
                    <a:pt x="495747" y="1932752"/>
                  </a:cubicBezTo>
                  <a:cubicBezTo>
                    <a:pt x="495747" y="1941214"/>
                    <a:pt x="491518" y="1953904"/>
                    <a:pt x="491518" y="1966599"/>
                  </a:cubicBezTo>
                  <a:cubicBezTo>
                    <a:pt x="474594" y="1983523"/>
                    <a:pt x="466133" y="2000446"/>
                    <a:pt x="449209" y="2017370"/>
                  </a:cubicBezTo>
                  <a:cubicBezTo>
                    <a:pt x="453438" y="1983523"/>
                    <a:pt x="457671" y="1953904"/>
                    <a:pt x="461900" y="1920057"/>
                  </a:cubicBezTo>
                  <a:lnTo>
                    <a:pt x="478823" y="1822748"/>
                  </a:lnTo>
                  <a:cubicBezTo>
                    <a:pt x="491518" y="1759283"/>
                    <a:pt x="499980" y="1695821"/>
                    <a:pt x="512670" y="1632355"/>
                  </a:cubicBezTo>
                  <a:cubicBezTo>
                    <a:pt x="538056" y="1547737"/>
                    <a:pt x="563441" y="1463119"/>
                    <a:pt x="584598" y="1378501"/>
                  </a:cubicBezTo>
                  <a:cubicBezTo>
                    <a:pt x="588827" y="1268497"/>
                    <a:pt x="652292" y="1137342"/>
                    <a:pt x="694601" y="1006181"/>
                  </a:cubicBezTo>
                  <a:cubicBezTo>
                    <a:pt x="711525" y="946949"/>
                    <a:pt x="724216" y="887716"/>
                    <a:pt x="745372" y="828483"/>
                  </a:cubicBezTo>
                  <a:cubicBezTo>
                    <a:pt x="762296" y="769251"/>
                    <a:pt x="783448" y="714251"/>
                    <a:pt x="800372" y="655019"/>
                  </a:cubicBezTo>
                  <a:cubicBezTo>
                    <a:pt x="901914" y="499531"/>
                    <a:pt x="977278" y="298827"/>
                    <a:pt x="1078224" y="117164"/>
                  </a:cubicBezTo>
                  <a:lnTo>
                    <a:pt x="1153691" y="0"/>
                  </a:lnTo>
                  <a:lnTo>
                    <a:pt x="8262739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3">
                    <a:alpha val="71000"/>
                  </a:schemeClr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ZA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71722AE-823A-40E5-8EC3-62F4D18B127F}"/>
                </a:ext>
              </a:extLst>
            </p:cNvPr>
            <p:cNvSpPr/>
            <p:nvPr userDrawn="1"/>
          </p:nvSpPr>
          <p:spPr>
            <a:xfrm rot="900000">
              <a:off x="-731331" y="24786"/>
              <a:ext cx="7308033" cy="7484336"/>
            </a:xfrm>
            <a:custGeom>
              <a:avLst/>
              <a:gdLst>
                <a:gd name="connsiteX0" fmla="*/ 6913876 w 7308033"/>
                <a:gd name="connsiteY0" fmla="*/ 5776530 h 7484336"/>
                <a:gd name="connsiteX1" fmla="*/ 6875166 w 7308033"/>
                <a:gd name="connsiteY1" fmla="*/ 5892655 h 7484336"/>
                <a:gd name="connsiteX2" fmla="*/ 6806682 w 7308033"/>
                <a:gd name="connsiteY2" fmla="*/ 6017714 h 7484336"/>
                <a:gd name="connsiteX3" fmla="*/ 6771323 w 7308033"/>
                <a:gd name="connsiteY3" fmla="*/ 6086199 h 7484336"/>
                <a:gd name="connsiteX4" fmla="*/ 6757742 w 7308033"/>
                <a:gd name="connsiteY4" fmla="*/ 6110614 h 7484336"/>
                <a:gd name="connsiteX5" fmla="*/ 6727685 w 7308033"/>
                <a:gd name="connsiteY5" fmla="*/ 6118668 h 7484336"/>
                <a:gd name="connsiteX6" fmla="*/ 6753086 w 7308033"/>
                <a:gd name="connsiteY6" fmla="*/ 6059400 h 7484336"/>
                <a:gd name="connsiteX7" fmla="*/ 6779882 w 7308033"/>
                <a:gd name="connsiteY7" fmla="*/ 6014738 h 7484336"/>
                <a:gd name="connsiteX8" fmla="*/ 6815614 w 7308033"/>
                <a:gd name="connsiteY8" fmla="*/ 5955186 h 7484336"/>
                <a:gd name="connsiteX9" fmla="*/ 6848369 w 7308033"/>
                <a:gd name="connsiteY9" fmla="*/ 5895635 h 7484336"/>
                <a:gd name="connsiteX10" fmla="*/ 6913876 w 7308033"/>
                <a:gd name="connsiteY10" fmla="*/ 5776530 h 7484336"/>
                <a:gd name="connsiteX11" fmla="*/ 6721144 w 7308033"/>
                <a:gd name="connsiteY11" fmla="*/ 5521292 h 7484336"/>
                <a:gd name="connsiteX12" fmla="*/ 6648868 w 7308033"/>
                <a:gd name="connsiteY12" fmla="*/ 5648492 h 7484336"/>
                <a:gd name="connsiteX13" fmla="*/ 6647540 w 7308033"/>
                <a:gd name="connsiteY13" fmla="*/ 5651550 h 7484336"/>
                <a:gd name="connsiteX14" fmla="*/ 6720331 w 7308033"/>
                <a:gd name="connsiteY14" fmla="*/ 5523433 h 7484336"/>
                <a:gd name="connsiteX15" fmla="*/ 7114698 w 7308033"/>
                <a:gd name="connsiteY15" fmla="*/ 4793131 h 7484336"/>
                <a:gd name="connsiteX16" fmla="*/ 7113630 w 7308033"/>
                <a:gd name="connsiteY16" fmla="*/ 4798399 h 7484336"/>
                <a:gd name="connsiteX17" fmla="*/ 7122304 w 7308033"/>
                <a:gd name="connsiteY17" fmla="*/ 4808811 h 7484336"/>
                <a:gd name="connsiteX18" fmla="*/ 7149104 w 7308033"/>
                <a:gd name="connsiteY18" fmla="*/ 4838587 h 7484336"/>
                <a:gd name="connsiteX19" fmla="*/ 7157044 w 7308033"/>
                <a:gd name="connsiteY19" fmla="*/ 4831309 h 7484336"/>
                <a:gd name="connsiteX20" fmla="*/ 7159029 w 7308033"/>
                <a:gd name="connsiteY20" fmla="*/ 4829985 h 7484336"/>
                <a:gd name="connsiteX21" fmla="*/ 7166970 w 7308033"/>
                <a:gd name="connsiteY21" fmla="*/ 4826677 h 7484336"/>
                <a:gd name="connsiteX22" fmla="*/ 7167420 w 7308033"/>
                <a:gd name="connsiteY22" fmla="*/ 4824391 h 7484336"/>
                <a:gd name="connsiteX23" fmla="*/ 7159029 w 7308033"/>
                <a:gd name="connsiteY23" fmla="*/ 4829985 h 7484336"/>
                <a:gd name="connsiteX24" fmla="*/ 7158037 w 7308033"/>
                <a:gd name="connsiteY24" fmla="*/ 4830399 h 7484336"/>
                <a:gd name="connsiteX25" fmla="*/ 7157044 w 7308033"/>
                <a:gd name="connsiteY25" fmla="*/ 4831309 h 7484336"/>
                <a:gd name="connsiteX26" fmla="*/ 7155060 w 7308033"/>
                <a:gd name="connsiteY26" fmla="*/ 4832632 h 7484336"/>
                <a:gd name="connsiteX27" fmla="*/ 7125284 w 7308033"/>
                <a:gd name="connsiteY27" fmla="*/ 4805832 h 7484336"/>
                <a:gd name="connsiteX28" fmla="*/ 7152080 w 7308033"/>
                <a:gd name="connsiteY28" fmla="*/ 4391948 h 7484336"/>
                <a:gd name="connsiteX29" fmla="*/ 7117409 w 7308033"/>
                <a:gd name="connsiteY29" fmla="*/ 4536420 h 7484336"/>
                <a:gd name="connsiteX30" fmla="*/ 7117412 w 7308033"/>
                <a:gd name="connsiteY30" fmla="*/ 4536420 h 7484336"/>
                <a:gd name="connsiteX31" fmla="*/ 7152083 w 7308033"/>
                <a:gd name="connsiteY31" fmla="*/ 4391952 h 7484336"/>
                <a:gd name="connsiteX32" fmla="*/ 7178880 w 7308033"/>
                <a:gd name="connsiteY32" fmla="*/ 4362173 h 7484336"/>
                <a:gd name="connsiteX33" fmla="*/ 7161015 w 7308033"/>
                <a:gd name="connsiteY33" fmla="*/ 4400883 h 7484336"/>
                <a:gd name="connsiteX34" fmla="*/ 7156923 w 7308033"/>
                <a:gd name="connsiteY34" fmla="*/ 4482020 h 7484336"/>
                <a:gd name="connsiteX35" fmla="*/ 7155060 w 7308033"/>
                <a:gd name="connsiteY35" fmla="*/ 4558694 h 7484336"/>
                <a:gd name="connsiteX36" fmla="*/ 7125284 w 7308033"/>
                <a:gd name="connsiteY36" fmla="*/ 4650316 h 7484336"/>
                <a:gd name="connsiteX37" fmla="*/ 7125283 w 7308033"/>
                <a:gd name="connsiteY37" fmla="*/ 4660782 h 7484336"/>
                <a:gd name="connsiteX38" fmla="*/ 7161015 w 7308033"/>
                <a:gd name="connsiteY38" fmla="*/ 4558693 h 7484336"/>
                <a:gd name="connsiteX39" fmla="*/ 7166970 w 7308033"/>
                <a:gd name="connsiteY39" fmla="*/ 4400880 h 7484336"/>
                <a:gd name="connsiteX40" fmla="*/ 7180853 w 7308033"/>
                <a:gd name="connsiteY40" fmla="*/ 4370804 h 7484336"/>
                <a:gd name="connsiteX41" fmla="*/ 7050842 w 7308033"/>
                <a:gd name="connsiteY41" fmla="*/ 4234134 h 7484336"/>
                <a:gd name="connsiteX42" fmla="*/ 7031332 w 7308033"/>
                <a:gd name="connsiteY42" fmla="*/ 4280253 h 7484336"/>
                <a:gd name="connsiteX43" fmla="*/ 7024045 w 7308033"/>
                <a:gd name="connsiteY43" fmla="*/ 4347286 h 7484336"/>
                <a:gd name="connsiteX44" fmla="*/ 7014651 w 7308033"/>
                <a:gd name="connsiteY44" fmla="*/ 4315972 h 7484336"/>
                <a:gd name="connsiteX45" fmla="*/ 7011215 w 7308033"/>
                <a:gd name="connsiteY45" fmla="*/ 4320392 h 7484336"/>
                <a:gd name="connsiteX46" fmla="*/ 7021069 w 7308033"/>
                <a:gd name="connsiteY46" fmla="*/ 4353241 h 7484336"/>
                <a:gd name="connsiteX47" fmla="*/ 7015114 w 7308033"/>
                <a:gd name="connsiteY47" fmla="*/ 4400882 h 7484336"/>
                <a:gd name="connsiteX48" fmla="*/ 7027025 w 7308033"/>
                <a:gd name="connsiteY48" fmla="*/ 4439590 h 7484336"/>
                <a:gd name="connsiteX49" fmla="*/ 7036255 w 7308033"/>
                <a:gd name="connsiteY49" fmla="*/ 4439077 h 7484336"/>
                <a:gd name="connsiteX50" fmla="*/ 7030001 w 7308033"/>
                <a:gd name="connsiteY50" fmla="*/ 4418745 h 7484336"/>
                <a:gd name="connsiteX51" fmla="*/ 7035955 w 7308033"/>
                <a:gd name="connsiteY51" fmla="*/ 4371104 h 7484336"/>
                <a:gd name="connsiteX52" fmla="*/ 7050842 w 7308033"/>
                <a:gd name="connsiteY52" fmla="*/ 4234134 h 7484336"/>
                <a:gd name="connsiteX53" fmla="*/ 7300963 w 7308033"/>
                <a:gd name="connsiteY53" fmla="*/ 4153741 h 7484336"/>
                <a:gd name="connsiteX54" fmla="*/ 7306918 w 7308033"/>
                <a:gd name="connsiteY54" fmla="*/ 4156717 h 7484336"/>
                <a:gd name="connsiteX55" fmla="*/ 7303939 w 7308033"/>
                <a:gd name="connsiteY55" fmla="*/ 4281775 h 7484336"/>
                <a:gd name="connsiteX56" fmla="*/ 7306918 w 7308033"/>
                <a:gd name="connsiteY56" fmla="*/ 4368127 h 7484336"/>
                <a:gd name="connsiteX57" fmla="*/ 7297984 w 7308033"/>
                <a:gd name="connsiteY57" fmla="*/ 4525938 h 7484336"/>
                <a:gd name="connsiteX58" fmla="*/ 7289052 w 7308033"/>
                <a:gd name="connsiteY58" fmla="*/ 4615266 h 7484336"/>
                <a:gd name="connsiteX59" fmla="*/ 7262253 w 7308033"/>
                <a:gd name="connsiteY59" fmla="*/ 4746280 h 7484336"/>
                <a:gd name="connsiteX60" fmla="*/ 7253322 w 7308033"/>
                <a:gd name="connsiteY60" fmla="*/ 4856452 h 7484336"/>
                <a:gd name="connsiteX61" fmla="*/ 7208656 w 7308033"/>
                <a:gd name="connsiteY61" fmla="*/ 5058929 h 7484336"/>
                <a:gd name="connsiteX62" fmla="*/ 7166969 w 7308033"/>
                <a:gd name="connsiteY62" fmla="*/ 5234606 h 7484336"/>
                <a:gd name="connsiteX63" fmla="*/ 7092532 w 7308033"/>
                <a:gd name="connsiteY63" fmla="*/ 5267360 h 7484336"/>
                <a:gd name="connsiteX64" fmla="*/ 7098487 w 7308033"/>
                <a:gd name="connsiteY64" fmla="*/ 5249495 h 7484336"/>
                <a:gd name="connsiteX65" fmla="*/ 7110397 w 7308033"/>
                <a:gd name="connsiteY65" fmla="*/ 5124436 h 7484336"/>
                <a:gd name="connsiteX66" fmla="*/ 7155060 w 7308033"/>
                <a:gd name="connsiteY66" fmla="*/ 4993422 h 7484336"/>
                <a:gd name="connsiteX67" fmla="*/ 7190791 w 7308033"/>
                <a:gd name="connsiteY67" fmla="*/ 4972581 h 7484336"/>
                <a:gd name="connsiteX68" fmla="*/ 7190791 w 7308033"/>
                <a:gd name="connsiteY68" fmla="*/ 4972577 h 7484336"/>
                <a:gd name="connsiteX69" fmla="*/ 7229501 w 7308033"/>
                <a:gd name="connsiteY69" fmla="*/ 4746280 h 7484336"/>
                <a:gd name="connsiteX70" fmla="*/ 7250343 w 7308033"/>
                <a:gd name="connsiteY70" fmla="*/ 4639087 h 7484336"/>
                <a:gd name="connsiteX71" fmla="*/ 7268208 w 7308033"/>
                <a:gd name="connsiteY71" fmla="*/ 4528918 h 7484336"/>
                <a:gd name="connsiteX72" fmla="*/ 7283097 w 7308033"/>
                <a:gd name="connsiteY72" fmla="*/ 4424700 h 7484336"/>
                <a:gd name="connsiteX73" fmla="*/ 7289052 w 7308033"/>
                <a:gd name="connsiteY73" fmla="*/ 4326441 h 7484336"/>
                <a:gd name="connsiteX74" fmla="*/ 7292029 w 7308033"/>
                <a:gd name="connsiteY74" fmla="*/ 4243069 h 7484336"/>
                <a:gd name="connsiteX75" fmla="*/ 7297984 w 7308033"/>
                <a:gd name="connsiteY75" fmla="*/ 4198403 h 7484336"/>
                <a:gd name="connsiteX76" fmla="*/ 7300963 w 7308033"/>
                <a:gd name="connsiteY76" fmla="*/ 4153741 h 7484336"/>
                <a:gd name="connsiteX77" fmla="*/ 4874223 w 7308033"/>
                <a:gd name="connsiteY77" fmla="*/ 452594 h 7484336"/>
                <a:gd name="connsiteX78" fmla="*/ 5026078 w 7308033"/>
                <a:gd name="connsiteY78" fmla="*/ 521077 h 7484336"/>
                <a:gd name="connsiteX79" fmla="*/ 5091585 w 7308033"/>
                <a:gd name="connsiteY79" fmla="*/ 574674 h 7484336"/>
                <a:gd name="connsiteX80" fmla="*/ 4945685 w 7308033"/>
                <a:gd name="connsiteY80" fmla="*/ 503212 h 7484336"/>
                <a:gd name="connsiteX81" fmla="*/ 4874223 w 7308033"/>
                <a:gd name="connsiteY81" fmla="*/ 452594 h 7484336"/>
                <a:gd name="connsiteX82" fmla="*/ 4379943 w 7308033"/>
                <a:gd name="connsiteY82" fmla="*/ 235228 h 7484336"/>
                <a:gd name="connsiteX83" fmla="*/ 4499046 w 7308033"/>
                <a:gd name="connsiteY83" fmla="*/ 262025 h 7484336"/>
                <a:gd name="connsiteX84" fmla="*/ 4665792 w 7308033"/>
                <a:gd name="connsiteY84" fmla="*/ 345398 h 7484336"/>
                <a:gd name="connsiteX85" fmla="*/ 4379943 w 7308033"/>
                <a:gd name="connsiteY85" fmla="*/ 235228 h 7484336"/>
                <a:gd name="connsiteX86" fmla="*/ 3998811 w 7308033"/>
                <a:gd name="connsiteY86" fmla="*/ 128035 h 7484336"/>
                <a:gd name="connsiteX87" fmla="*/ 4120890 w 7308033"/>
                <a:gd name="connsiteY87" fmla="*/ 136966 h 7484336"/>
                <a:gd name="connsiteX88" fmla="*/ 4269770 w 7308033"/>
                <a:gd name="connsiteY88" fmla="*/ 196518 h 7484336"/>
                <a:gd name="connsiteX89" fmla="*/ 4085159 w 7308033"/>
                <a:gd name="connsiteY89" fmla="*/ 163766 h 7484336"/>
                <a:gd name="connsiteX90" fmla="*/ 3998811 w 7308033"/>
                <a:gd name="connsiteY90" fmla="*/ 128035 h 7484336"/>
                <a:gd name="connsiteX91" fmla="*/ 550622 w 7308033"/>
                <a:gd name="connsiteY91" fmla="*/ 992975 h 7484336"/>
                <a:gd name="connsiteX92" fmla="*/ 535712 w 7308033"/>
                <a:gd name="connsiteY92" fmla="*/ 999512 h 7484336"/>
                <a:gd name="connsiteX93" fmla="*/ 516599 w 7308033"/>
                <a:gd name="connsiteY93" fmla="*/ 1006608 h 7484336"/>
                <a:gd name="connsiteX94" fmla="*/ 512050 w 7308033"/>
                <a:gd name="connsiteY94" fmla="*/ 1012379 h 7484336"/>
                <a:gd name="connsiteX95" fmla="*/ 479295 w 7308033"/>
                <a:gd name="connsiteY95" fmla="*/ 1042154 h 7484336"/>
                <a:gd name="connsiteX96" fmla="*/ 395923 w 7308033"/>
                <a:gd name="connsiteY96" fmla="*/ 1095751 h 7484336"/>
                <a:gd name="connsiteX97" fmla="*/ 339350 w 7308033"/>
                <a:gd name="connsiteY97" fmla="*/ 1158282 h 7484336"/>
                <a:gd name="connsiteX98" fmla="*/ 285753 w 7308033"/>
                <a:gd name="connsiteY98" fmla="*/ 1220810 h 7484336"/>
                <a:gd name="connsiteX99" fmla="*/ 250022 w 7308033"/>
                <a:gd name="connsiteY99" fmla="*/ 1253565 h 7484336"/>
                <a:gd name="connsiteX100" fmla="*/ 248809 w 7308033"/>
                <a:gd name="connsiteY100" fmla="*/ 1252046 h 7484336"/>
                <a:gd name="connsiteX101" fmla="*/ 215035 w 7308033"/>
                <a:gd name="connsiteY101" fmla="*/ 1292647 h 7484336"/>
                <a:gd name="connsiteX102" fmla="*/ 157715 w 7308033"/>
                <a:gd name="connsiteY102" fmla="*/ 1363738 h 7484336"/>
                <a:gd name="connsiteX103" fmla="*/ 65411 w 7308033"/>
                <a:gd name="connsiteY103" fmla="*/ 1464976 h 7484336"/>
                <a:gd name="connsiteX104" fmla="*/ 80298 w 7308033"/>
                <a:gd name="connsiteY104" fmla="*/ 1482838 h 7484336"/>
                <a:gd name="connsiteX105" fmla="*/ 80582 w 7308033"/>
                <a:gd name="connsiteY105" fmla="*/ 1482588 h 7484336"/>
                <a:gd name="connsiteX106" fmla="*/ 68387 w 7308033"/>
                <a:gd name="connsiteY106" fmla="*/ 1467952 h 7484336"/>
                <a:gd name="connsiteX107" fmla="*/ 160691 w 7308033"/>
                <a:gd name="connsiteY107" fmla="*/ 1366714 h 7484336"/>
                <a:gd name="connsiteX108" fmla="*/ 252998 w 7308033"/>
                <a:gd name="connsiteY108" fmla="*/ 1253565 h 7484336"/>
                <a:gd name="connsiteX109" fmla="*/ 288729 w 7308033"/>
                <a:gd name="connsiteY109" fmla="*/ 1220813 h 7484336"/>
                <a:gd name="connsiteX110" fmla="*/ 342326 w 7308033"/>
                <a:gd name="connsiteY110" fmla="*/ 1158282 h 7484336"/>
                <a:gd name="connsiteX111" fmla="*/ 398899 w 7308033"/>
                <a:gd name="connsiteY111" fmla="*/ 1095754 h 7484336"/>
                <a:gd name="connsiteX112" fmla="*/ 482271 w 7308033"/>
                <a:gd name="connsiteY112" fmla="*/ 1042158 h 7484336"/>
                <a:gd name="connsiteX113" fmla="*/ 515026 w 7308033"/>
                <a:gd name="connsiteY113" fmla="*/ 1012382 h 7484336"/>
                <a:gd name="connsiteX114" fmla="*/ 550758 w 7308033"/>
                <a:gd name="connsiteY114" fmla="*/ 998983 h 7484336"/>
                <a:gd name="connsiteX115" fmla="*/ 562036 w 7308033"/>
                <a:gd name="connsiteY115" fmla="*/ 995482 h 7484336"/>
                <a:gd name="connsiteX116" fmla="*/ 561411 w 7308033"/>
                <a:gd name="connsiteY116" fmla="*/ 990559 h 7484336"/>
                <a:gd name="connsiteX117" fmla="*/ 550622 w 7308033"/>
                <a:gd name="connsiteY117" fmla="*/ 992975 h 7484336"/>
                <a:gd name="connsiteX118" fmla="*/ 3599813 w 7308033"/>
                <a:gd name="connsiteY118" fmla="*/ 151856 h 7484336"/>
                <a:gd name="connsiteX119" fmla="*/ 3652293 w 7308033"/>
                <a:gd name="connsiteY119" fmla="*/ 151484 h 7484336"/>
                <a:gd name="connsiteX120" fmla="*/ 3715937 w 7308033"/>
                <a:gd name="connsiteY120" fmla="*/ 157811 h 7484336"/>
                <a:gd name="connsiteX121" fmla="*/ 3802289 w 7308033"/>
                <a:gd name="connsiteY121" fmla="*/ 187587 h 7484336"/>
                <a:gd name="connsiteX122" fmla="*/ 3736782 w 7308033"/>
                <a:gd name="connsiteY122" fmla="*/ 178656 h 7484336"/>
                <a:gd name="connsiteX123" fmla="*/ 3599813 w 7308033"/>
                <a:gd name="connsiteY123" fmla="*/ 151856 h 7484336"/>
                <a:gd name="connsiteX124" fmla="*/ 1994473 w 7308033"/>
                <a:gd name="connsiteY124" fmla="*/ 334850 h 7484336"/>
                <a:gd name="connsiteX125" fmla="*/ 1968092 w 7308033"/>
                <a:gd name="connsiteY125" fmla="*/ 345401 h 7484336"/>
                <a:gd name="connsiteX126" fmla="*/ 1786460 w 7308033"/>
                <a:gd name="connsiteY126" fmla="*/ 407929 h 7484336"/>
                <a:gd name="connsiteX127" fmla="*/ 1607805 w 7308033"/>
                <a:gd name="connsiteY127" fmla="*/ 479391 h 7484336"/>
                <a:gd name="connsiteX128" fmla="*/ 1482746 w 7308033"/>
                <a:gd name="connsiteY128" fmla="*/ 535967 h 7484336"/>
                <a:gd name="connsiteX129" fmla="*/ 1399373 w 7308033"/>
                <a:gd name="connsiteY129" fmla="*/ 568719 h 7484336"/>
                <a:gd name="connsiteX130" fmla="*/ 1193918 w 7308033"/>
                <a:gd name="connsiteY130" fmla="*/ 664002 h 7484336"/>
                <a:gd name="connsiteX131" fmla="*/ 1095659 w 7308033"/>
                <a:gd name="connsiteY131" fmla="*/ 726533 h 7484336"/>
                <a:gd name="connsiteX132" fmla="*/ 1000376 w 7308033"/>
                <a:gd name="connsiteY132" fmla="*/ 789061 h 7484336"/>
                <a:gd name="connsiteX133" fmla="*/ 848517 w 7308033"/>
                <a:gd name="connsiteY133" fmla="*/ 902209 h 7484336"/>
                <a:gd name="connsiteX134" fmla="*/ 705592 w 7308033"/>
                <a:gd name="connsiteY134" fmla="*/ 1015358 h 7484336"/>
                <a:gd name="connsiteX135" fmla="*/ 568804 w 7308033"/>
                <a:gd name="connsiteY135" fmla="*/ 1134687 h 7484336"/>
                <a:gd name="connsiteX136" fmla="*/ 580534 w 7308033"/>
                <a:gd name="connsiteY136" fmla="*/ 1149351 h 7484336"/>
                <a:gd name="connsiteX137" fmla="*/ 609565 w 7308033"/>
                <a:gd name="connsiteY137" fmla="*/ 1129438 h 7484336"/>
                <a:gd name="connsiteX138" fmla="*/ 634277 w 7308033"/>
                <a:gd name="connsiteY138" fmla="*/ 1111019 h 7484336"/>
                <a:gd name="connsiteX139" fmla="*/ 723458 w 7308033"/>
                <a:gd name="connsiteY139" fmla="*/ 1033223 h 7484336"/>
                <a:gd name="connsiteX140" fmla="*/ 866382 w 7308033"/>
                <a:gd name="connsiteY140" fmla="*/ 920075 h 7484336"/>
                <a:gd name="connsiteX141" fmla="*/ 1018238 w 7308033"/>
                <a:gd name="connsiteY141" fmla="*/ 806926 h 7484336"/>
                <a:gd name="connsiteX142" fmla="*/ 1113521 w 7308033"/>
                <a:gd name="connsiteY142" fmla="*/ 744395 h 7484336"/>
                <a:gd name="connsiteX143" fmla="*/ 1211783 w 7308033"/>
                <a:gd name="connsiteY143" fmla="*/ 681867 h 7484336"/>
                <a:gd name="connsiteX144" fmla="*/ 1417236 w 7308033"/>
                <a:gd name="connsiteY144" fmla="*/ 586584 h 7484336"/>
                <a:gd name="connsiteX145" fmla="*/ 1497632 w 7308033"/>
                <a:gd name="connsiteY145" fmla="*/ 544898 h 7484336"/>
                <a:gd name="connsiteX146" fmla="*/ 1622691 w 7308033"/>
                <a:gd name="connsiteY146" fmla="*/ 488322 h 7484336"/>
                <a:gd name="connsiteX147" fmla="*/ 1801347 w 7308033"/>
                <a:gd name="connsiteY147" fmla="*/ 416860 h 7484336"/>
                <a:gd name="connsiteX148" fmla="*/ 1982978 w 7308033"/>
                <a:gd name="connsiteY148" fmla="*/ 354332 h 7484336"/>
                <a:gd name="connsiteX149" fmla="*/ 2059277 w 7308033"/>
                <a:gd name="connsiteY149" fmla="*/ 339346 h 7484336"/>
                <a:gd name="connsiteX150" fmla="*/ 2096133 w 7308033"/>
                <a:gd name="connsiteY150" fmla="*/ 326751 h 7484336"/>
                <a:gd name="connsiteX151" fmla="*/ 2597795 w 7308033"/>
                <a:gd name="connsiteY151" fmla="*/ 218526 h 7484336"/>
                <a:gd name="connsiteX152" fmla="*/ 2587435 w 7308033"/>
                <a:gd name="connsiteY152" fmla="*/ 215503 h 7484336"/>
                <a:gd name="connsiteX153" fmla="*/ 2524903 w 7308033"/>
                <a:gd name="connsiteY153" fmla="*/ 223318 h 7484336"/>
                <a:gd name="connsiteX154" fmla="*/ 2390910 w 7308033"/>
                <a:gd name="connsiteY154" fmla="*/ 241184 h 7484336"/>
                <a:gd name="connsiteX155" fmla="*/ 2259896 w 7308033"/>
                <a:gd name="connsiteY155" fmla="*/ 270959 h 7484336"/>
                <a:gd name="connsiteX156" fmla="*/ 2203324 w 7308033"/>
                <a:gd name="connsiteY156" fmla="*/ 288825 h 7484336"/>
                <a:gd name="connsiteX157" fmla="*/ 2137816 w 7308033"/>
                <a:gd name="connsiteY157" fmla="*/ 306691 h 7484336"/>
                <a:gd name="connsiteX158" fmla="*/ 2046992 w 7308033"/>
                <a:gd name="connsiteY158" fmla="*/ 272932 h 7484336"/>
                <a:gd name="connsiteX159" fmla="*/ 2096621 w 7308033"/>
                <a:gd name="connsiteY159" fmla="*/ 259634 h 7484336"/>
                <a:gd name="connsiteX160" fmla="*/ 2215233 w 7308033"/>
                <a:gd name="connsiteY160" fmla="*/ 244163 h 7484336"/>
                <a:gd name="connsiteX161" fmla="*/ 2313493 w 7308033"/>
                <a:gd name="connsiteY161" fmla="*/ 208432 h 7484336"/>
                <a:gd name="connsiteX162" fmla="*/ 2426642 w 7308033"/>
                <a:gd name="connsiteY162" fmla="*/ 178656 h 7484336"/>
                <a:gd name="connsiteX163" fmla="*/ 2664849 w 7308033"/>
                <a:gd name="connsiteY163" fmla="*/ 145901 h 7484336"/>
                <a:gd name="connsiteX164" fmla="*/ 3008762 w 7308033"/>
                <a:gd name="connsiteY164" fmla="*/ 128407 h 7484336"/>
                <a:gd name="connsiteX165" fmla="*/ 3285189 w 7308033"/>
                <a:gd name="connsiteY165" fmla="*/ 137682 h 7484336"/>
                <a:gd name="connsiteX166" fmla="*/ 3002806 w 7308033"/>
                <a:gd name="connsiteY166" fmla="*/ 127291 h 7484336"/>
                <a:gd name="connsiteX167" fmla="*/ 2658894 w 7308033"/>
                <a:gd name="connsiteY167" fmla="*/ 145901 h 7484336"/>
                <a:gd name="connsiteX168" fmla="*/ 2420686 w 7308033"/>
                <a:gd name="connsiteY168" fmla="*/ 178653 h 7484336"/>
                <a:gd name="connsiteX169" fmla="*/ 2307538 w 7308033"/>
                <a:gd name="connsiteY169" fmla="*/ 208428 h 7484336"/>
                <a:gd name="connsiteX170" fmla="*/ 2209275 w 7308033"/>
                <a:gd name="connsiteY170" fmla="*/ 244160 h 7484336"/>
                <a:gd name="connsiteX171" fmla="*/ 2102296 w 7308033"/>
                <a:gd name="connsiteY171" fmla="*/ 258113 h 7484336"/>
                <a:gd name="connsiteX172" fmla="*/ 3008390 w 7308033"/>
                <a:gd name="connsiteY172" fmla="*/ 15326 h 7484336"/>
                <a:gd name="connsiteX173" fmla="*/ 3013414 w 7308033"/>
                <a:gd name="connsiteY173" fmla="*/ 15352 h 7484336"/>
                <a:gd name="connsiteX174" fmla="*/ 3113720 w 7308033"/>
                <a:gd name="connsiteY174" fmla="*/ 14143 h 7484336"/>
                <a:gd name="connsiteX175" fmla="*/ 3319919 w 7308033"/>
                <a:gd name="connsiteY175" fmla="*/ 17863 h 7484336"/>
                <a:gd name="connsiteX176" fmla="*/ 3323758 w 7308033"/>
                <a:gd name="connsiteY176" fmla="*/ 20742 h 7484336"/>
                <a:gd name="connsiteX177" fmla="*/ 3424136 w 7308033"/>
                <a:gd name="connsiteY177" fmla="*/ 8931 h 7484336"/>
                <a:gd name="connsiteX178" fmla="*/ 3516441 w 7308033"/>
                <a:gd name="connsiteY178" fmla="*/ 23818 h 7484336"/>
                <a:gd name="connsiteX179" fmla="*/ 3608747 w 7308033"/>
                <a:gd name="connsiteY179" fmla="*/ 41683 h 7484336"/>
                <a:gd name="connsiteX180" fmla="*/ 3656370 w 7308033"/>
                <a:gd name="connsiteY180" fmla="*/ 52509 h 7484336"/>
                <a:gd name="connsiteX181" fmla="*/ 3605768 w 7308033"/>
                <a:gd name="connsiteY181" fmla="*/ 38707 h 7484336"/>
                <a:gd name="connsiteX182" fmla="*/ 3513461 w 7308033"/>
                <a:gd name="connsiteY182" fmla="*/ 20842 h 7484336"/>
                <a:gd name="connsiteX183" fmla="*/ 3421157 w 7308033"/>
                <a:gd name="connsiteY183" fmla="*/ 5955 h 7484336"/>
                <a:gd name="connsiteX184" fmla="*/ 3421158 w 7308033"/>
                <a:gd name="connsiteY184" fmla="*/ 0 h 7484336"/>
                <a:gd name="connsiteX185" fmla="*/ 3561102 w 7308033"/>
                <a:gd name="connsiteY185" fmla="*/ 8931 h 7484336"/>
                <a:gd name="connsiteX186" fmla="*/ 3704027 w 7308033"/>
                <a:gd name="connsiteY186" fmla="*/ 23821 h 7484336"/>
                <a:gd name="connsiteX187" fmla="*/ 3799310 w 7308033"/>
                <a:gd name="connsiteY187" fmla="*/ 47642 h 7484336"/>
                <a:gd name="connsiteX188" fmla="*/ 3861841 w 7308033"/>
                <a:gd name="connsiteY188" fmla="*/ 77418 h 7484336"/>
                <a:gd name="connsiteX189" fmla="*/ 3939259 w 7308033"/>
                <a:gd name="connsiteY189" fmla="*/ 62528 h 7484336"/>
                <a:gd name="connsiteX190" fmla="*/ 4055383 w 7308033"/>
                <a:gd name="connsiteY190" fmla="*/ 89328 h 7484336"/>
                <a:gd name="connsiteX191" fmla="*/ 4126846 w 7308033"/>
                <a:gd name="connsiteY191" fmla="*/ 110169 h 7484336"/>
                <a:gd name="connsiteX192" fmla="*/ 4123870 w 7308033"/>
                <a:gd name="connsiteY192" fmla="*/ 113149 h 7484336"/>
                <a:gd name="connsiteX193" fmla="*/ 4120890 w 7308033"/>
                <a:gd name="connsiteY193" fmla="*/ 133990 h 7484336"/>
                <a:gd name="connsiteX194" fmla="*/ 3998811 w 7308033"/>
                <a:gd name="connsiteY194" fmla="*/ 125059 h 7484336"/>
                <a:gd name="connsiteX195" fmla="*/ 3957124 w 7308033"/>
                <a:gd name="connsiteY195" fmla="*/ 113149 h 7484336"/>
                <a:gd name="connsiteX196" fmla="*/ 3915438 w 7308033"/>
                <a:gd name="connsiteY196" fmla="*/ 104214 h 7484336"/>
                <a:gd name="connsiteX197" fmla="*/ 3835041 w 7308033"/>
                <a:gd name="connsiteY197" fmla="*/ 86349 h 7484336"/>
                <a:gd name="connsiteX198" fmla="*/ 3754648 w 7308033"/>
                <a:gd name="connsiteY198" fmla="*/ 68483 h 7484336"/>
                <a:gd name="connsiteX199" fmla="*/ 3671275 w 7308033"/>
                <a:gd name="connsiteY199" fmla="*/ 56573 h 7484336"/>
                <a:gd name="connsiteX200" fmla="*/ 3578972 w 7308033"/>
                <a:gd name="connsiteY200" fmla="*/ 56573 h 7484336"/>
                <a:gd name="connsiteX201" fmla="*/ 3504530 w 7308033"/>
                <a:gd name="connsiteY201" fmla="*/ 56573 h 7484336"/>
                <a:gd name="connsiteX202" fmla="*/ 3388405 w 7308033"/>
                <a:gd name="connsiteY202" fmla="*/ 56573 h 7484336"/>
                <a:gd name="connsiteX203" fmla="*/ 3382950 w 7308033"/>
                <a:gd name="connsiteY203" fmla="*/ 54832 h 7484336"/>
                <a:gd name="connsiteX204" fmla="*/ 3331829 w 7308033"/>
                <a:gd name="connsiteY204" fmla="*/ 80394 h 7484336"/>
                <a:gd name="connsiteX205" fmla="*/ 3349695 w 7308033"/>
                <a:gd name="connsiteY205" fmla="*/ 110170 h 7484336"/>
                <a:gd name="connsiteX206" fmla="*/ 3528350 w 7308033"/>
                <a:gd name="connsiteY206" fmla="*/ 145901 h 7484336"/>
                <a:gd name="connsiteX207" fmla="*/ 3448848 w 7308033"/>
                <a:gd name="connsiteY207" fmla="*/ 147289 h 7484336"/>
                <a:gd name="connsiteX208" fmla="*/ 3450189 w 7308033"/>
                <a:gd name="connsiteY208" fmla="*/ 147392 h 7484336"/>
                <a:gd name="connsiteX209" fmla="*/ 3534306 w 7308033"/>
                <a:gd name="connsiteY209" fmla="*/ 145901 h 7484336"/>
                <a:gd name="connsiteX210" fmla="*/ 3605768 w 7308033"/>
                <a:gd name="connsiteY210" fmla="*/ 154835 h 7484336"/>
                <a:gd name="connsiteX211" fmla="*/ 3742737 w 7308033"/>
                <a:gd name="connsiteY211" fmla="*/ 181632 h 7484336"/>
                <a:gd name="connsiteX212" fmla="*/ 3808245 w 7308033"/>
                <a:gd name="connsiteY212" fmla="*/ 190566 h 7484336"/>
                <a:gd name="connsiteX213" fmla="*/ 3918417 w 7308033"/>
                <a:gd name="connsiteY213" fmla="*/ 214387 h 7484336"/>
                <a:gd name="connsiteX214" fmla="*/ 4031566 w 7308033"/>
                <a:gd name="connsiteY214" fmla="*/ 238208 h 7484336"/>
                <a:gd name="connsiteX215" fmla="*/ 4141735 w 7308033"/>
                <a:gd name="connsiteY215" fmla="*/ 265004 h 7484336"/>
                <a:gd name="connsiteX216" fmla="*/ 4251908 w 7308033"/>
                <a:gd name="connsiteY216" fmla="*/ 297759 h 7484336"/>
                <a:gd name="connsiteX217" fmla="*/ 4305504 w 7308033"/>
                <a:gd name="connsiteY217" fmla="*/ 312646 h 7484336"/>
                <a:gd name="connsiteX218" fmla="*/ 4359101 w 7308033"/>
                <a:gd name="connsiteY218" fmla="*/ 330511 h 7484336"/>
                <a:gd name="connsiteX219" fmla="*/ 4359792 w 7308033"/>
                <a:gd name="connsiteY219" fmla="*/ 331143 h 7484336"/>
                <a:gd name="connsiteX220" fmla="*/ 4398227 w 7308033"/>
                <a:gd name="connsiteY220" fmla="*/ 337770 h 7484336"/>
                <a:gd name="connsiteX221" fmla="*/ 4491368 w 7308033"/>
                <a:gd name="connsiteY221" fmla="*/ 372382 h 7484336"/>
                <a:gd name="connsiteX222" fmla="*/ 4504379 w 7308033"/>
                <a:gd name="connsiteY222" fmla="*/ 392095 h 7484336"/>
                <a:gd name="connsiteX223" fmla="*/ 4507980 w 7308033"/>
                <a:gd name="connsiteY223" fmla="*/ 393042 h 7484336"/>
                <a:gd name="connsiteX224" fmla="*/ 4591353 w 7308033"/>
                <a:gd name="connsiteY224" fmla="*/ 425794 h 7484336"/>
                <a:gd name="connsiteX225" fmla="*/ 4662816 w 7308033"/>
                <a:gd name="connsiteY225" fmla="*/ 455570 h 7484336"/>
                <a:gd name="connsiteX226" fmla="*/ 4734278 w 7308033"/>
                <a:gd name="connsiteY226" fmla="*/ 488325 h 7484336"/>
                <a:gd name="connsiteX227" fmla="*/ 4787874 w 7308033"/>
                <a:gd name="connsiteY227" fmla="*/ 518101 h 7484336"/>
                <a:gd name="connsiteX228" fmla="*/ 4823606 w 7308033"/>
                <a:gd name="connsiteY228" fmla="*/ 535967 h 7484336"/>
                <a:gd name="connsiteX229" fmla="*/ 4862313 w 7308033"/>
                <a:gd name="connsiteY229" fmla="*/ 556808 h 7484336"/>
                <a:gd name="connsiteX230" fmla="*/ 4993327 w 7308033"/>
                <a:gd name="connsiteY230" fmla="*/ 631250 h 7484336"/>
                <a:gd name="connsiteX231" fmla="*/ 5160072 w 7308033"/>
                <a:gd name="connsiteY231" fmla="*/ 738443 h 7484336"/>
                <a:gd name="connsiteX232" fmla="*/ 5246424 w 7308033"/>
                <a:gd name="connsiteY232" fmla="*/ 797995 h 7484336"/>
                <a:gd name="connsiteX233" fmla="*/ 5248924 w 7308033"/>
                <a:gd name="connsiteY233" fmla="*/ 799780 h 7484336"/>
                <a:gd name="connsiteX234" fmla="*/ 5293052 w 7308033"/>
                <a:gd name="connsiteY234" fmla="*/ 826589 h 7484336"/>
                <a:gd name="connsiteX235" fmla="*/ 6973427 w 7308033"/>
                <a:gd name="connsiteY235" fmla="*/ 3986995 h 7484336"/>
                <a:gd name="connsiteX236" fmla="*/ 6972171 w 7308033"/>
                <a:gd name="connsiteY236" fmla="*/ 4011914 h 7484336"/>
                <a:gd name="connsiteX237" fmla="*/ 7006179 w 7308033"/>
                <a:gd name="connsiteY237" fmla="*/ 4016772 h 7484336"/>
                <a:gd name="connsiteX238" fmla="*/ 7038932 w 7308033"/>
                <a:gd name="connsiteY238" fmla="*/ 4040592 h 7484336"/>
                <a:gd name="connsiteX239" fmla="*/ 7053821 w 7308033"/>
                <a:gd name="connsiteY239" fmla="*/ 4120986 h 7484336"/>
                <a:gd name="connsiteX240" fmla="*/ 7110394 w 7308033"/>
                <a:gd name="connsiteY240" fmla="*/ 4216268 h 7484336"/>
                <a:gd name="connsiteX241" fmla="*/ 7134218 w 7308033"/>
                <a:gd name="connsiteY241" fmla="*/ 4218435 h 7484336"/>
                <a:gd name="connsiteX242" fmla="*/ 7134218 w 7308033"/>
                <a:gd name="connsiteY242" fmla="*/ 4195427 h 7484336"/>
                <a:gd name="connsiteX243" fmla="*/ 7158423 w 7308033"/>
                <a:gd name="connsiteY243" fmla="*/ 4128188 h 7484336"/>
                <a:gd name="connsiteX244" fmla="*/ 7158035 w 7308033"/>
                <a:gd name="connsiteY244" fmla="*/ 4115034 h 7484336"/>
                <a:gd name="connsiteX245" fmla="*/ 7181856 w 7308033"/>
                <a:gd name="connsiteY245" fmla="*/ 4034637 h 7484336"/>
                <a:gd name="connsiteX246" fmla="*/ 7214611 w 7308033"/>
                <a:gd name="connsiteY246" fmla="*/ 4034637 h 7484336"/>
                <a:gd name="connsiteX247" fmla="*/ 7265228 w 7308033"/>
                <a:gd name="connsiteY247" fmla="*/ 4001885 h 7484336"/>
                <a:gd name="connsiteX248" fmla="*/ 7271184 w 7308033"/>
                <a:gd name="connsiteY248" fmla="*/ 4132899 h 7484336"/>
                <a:gd name="connsiteX249" fmla="*/ 7256297 w 7308033"/>
                <a:gd name="connsiteY249" fmla="*/ 4195427 h 7484336"/>
                <a:gd name="connsiteX250" fmla="*/ 7238432 w 7308033"/>
                <a:gd name="connsiteY250" fmla="*/ 4254979 h 7484336"/>
                <a:gd name="connsiteX251" fmla="*/ 7229498 w 7308033"/>
                <a:gd name="connsiteY251" fmla="*/ 4353241 h 7484336"/>
                <a:gd name="connsiteX252" fmla="*/ 7226521 w 7308033"/>
                <a:gd name="connsiteY252" fmla="*/ 4403859 h 7484336"/>
                <a:gd name="connsiteX253" fmla="*/ 7220567 w 7308033"/>
                <a:gd name="connsiteY253" fmla="*/ 4454479 h 7484336"/>
                <a:gd name="connsiteX254" fmla="*/ 7207871 w 7308033"/>
                <a:gd name="connsiteY254" fmla="*/ 4462944 h 7484336"/>
                <a:gd name="connsiteX255" fmla="*/ 7208656 w 7308033"/>
                <a:gd name="connsiteY255" fmla="*/ 4466386 h 7484336"/>
                <a:gd name="connsiteX256" fmla="*/ 7220819 w 7308033"/>
                <a:gd name="connsiteY256" fmla="*/ 4458278 h 7484336"/>
                <a:gd name="connsiteX257" fmla="*/ 7226521 w 7308033"/>
                <a:gd name="connsiteY257" fmla="*/ 4409814 h 7484336"/>
                <a:gd name="connsiteX258" fmla="*/ 7229497 w 7308033"/>
                <a:gd name="connsiteY258" fmla="*/ 4359196 h 7484336"/>
                <a:gd name="connsiteX259" fmla="*/ 7238432 w 7308033"/>
                <a:gd name="connsiteY259" fmla="*/ 4260934 h 7484336"/>
                <a:gd name="connsiteX260" fmla="*/ 7256297 w 7308033"/>
                <a:gd name="connsiteY260" fmla="*/ 4201383 h 7484336"/>
                <a:gd name="connsiteX261" fmla="*/ 7271184 w 7308033"/>
                <a:gd name="connsiteY261" fmla="*/ 4138855 h 7484336"/>
                <a:gd name="connsiteX262" fmla="*/ 7295004 w 7308033"/>
                <a:gd name="connsiteY262" fmla="*/ 4156720 h 7484336"/>
                <a:gd name="connsiteX263" fmla="*/ 7292028 w 7308033"/>
                <a:gd name="connsiteY263" fmla="*/ 4201382 h 7484336"/>
                <a:gd name="connsiteX264" fmla="*/ 7286074 w 7308033"/>
                <a:gd name="connsiteY264" fmla="*/ 4246047 h 7484336"/>
                <a:gd name="connsiteX265" fmla="*/ 7283094 w 7308033"/>
                <a:gd name="connsiteY265" fmla="*/ 4329421 h 7484336"/>
                <a:gd name="connsiteX266" fmla="*/ 7277139 w 7308033"/>
                <a:gd name="connsiteY266" fmla="*/ 4427679 h 7484336"/>
                <a:gd name="connsiteX267" fmla="*/ 7262253 w 7308033"/>
                <a:gd name="connsiteY267" fmla="*/ 4531896 h 7484336"/>
                <a:gd name="connsiteX268" fmla="*/ 7244387 w 7308033"/>
                <a:gd name="connsiteY268" fmla="*/ 4642066 h 7484336"/>
                <a:gd name="connsiteX269" fmla="*/ 7223542 w 7308033"/>
                <a:gd name="connsiteY269" fmla="*/ 4749259 h 7484336"/>
                <a:gd name="connsiteX270" fmla="*/ 7184835 w 7308033"/>
                <a:gd name="connsiteY270" fmla="*/ 4975556 h 7484336"/>
                <a:gd name="connsiteX271" fmla="*/ 7149104 w 7308033"/>
                <a:gd name="connsiteY271" fmla="*/ 4996401 h 7484336"/>
                <a:gd name="connsiteX272" fmla="*/ 7104438 w 7308033"/>
                <a:gd name="connsiteY272" fmla="*/ 5127416 h 7484336"/>
                <a:gd name="connsiteX273" fmla="*/ 7092529 w 7308033"/>
                <a:gd name="connsiteY273" fmla="*/ 5252474 h 7484336"/>
                <a:gd name="connsiteX274" fmla="*/ 7086573 w 7308033"/>
                <a:gd name="connsiteY274" fmla="*/ 5270339 h 7484336"/>
                <a:gd name="connsiteX275" fmla="*/ 7035956 w 7308033"/>
                <a:gd name="connsiteY275" fmla="*/ 5407309 h 7484336"/>
                <a:gd name="connsiteX276" fmla="*/ 7021066 w 7308033"/>
                <a:gd name="connsiteY276" fmla="*/ 5419219 h 7484336"/>
                <a:gd name="connsiteX277" fmla="*/ 6958538 w 7308033"/>
                <a:gd name="connsiteY277" fmla="*/ 5565120 h 7484336"/>
                <a:gd name="connsiteX278" fmla="*/ 7024045 w 7308033"/>
                <a:gd name="connsiteY278" fmla="*/ 5419219 h 7484336"/>
                <a:gd name="connsiteX279" fmla="*/ 7038932 w 7308033"/>
                <a:gd name="connsiteY279" fmla="*/ 5407309 h 7484336"/>
                <a:gd name="connsiteX280" fmla="*/ 6943648 w 7308033"/>
                <a:gd name="connsiteY280" fmla="*/ 5678268 h 7484336"/>
                <a:gd name="connsiteX281" fmla="*/ 6893031 w 7308033"/>
                <a:gd name="connsiteY281" fmla="*/ 5705068 h 7484336"/>
                <a:gd name="connsiteX282" fmla="*/ 6882533 w 7308033"/>
                <a:gd name="connsiteY282" fmla="*/ 5726066 h 7484336"/>
                <a:gd name="connsiteX283" fmla="*/ 6884100 w 7308033"/>
                <a:gd name="connsiteY283" fmla="*/ 5728886 h 7484336"/>
                <a:gd name="connsiteX284" fmla="*/ 6896010 w 7308033"/>
                <a:gd name="connsiteY284" fmla="*/ 5705065 h 7484336"/>
                <a:gd name="connsiteX285" fmla="*/ 6946628 w 7308033"/>
                <a:gd name="connsiteY285" fmla="*/ 5678269 h 7484336"/>
                <a:gd name="connsiteX286" fmla="*/ 6910897 w 7308033"/>
                <a:gd name="connsiteY286" fmla="*/ 5779506 h 7484336"/>
                <a:gd name="connsiteX287" fmla="*/ 6845389 w 7308033"/>
                <a:gd name="connsiteY287" fmla="*/ 5898611 h 7484336"/>
                <a:gd name="connsiteX288" fmla="*/ 6812638 w 7308033"/>
                <a:gd name="connsiteY288" fmla="*/ 5958162 h 7484336"/>
                <a:gd name="connsiteX289" fmla="*/ 6776907 w 7308033"/>
                <a:gd name="connsiteY289" fmla="*/ 6017714 h 7484336"/>
                <a:gd name="connsiteX290" fmla="*/ 6750106 w 7308033"/>
                <a:gd name="connsiteY290" fmla="*/ 6062376 h 7484336"/>
                <a:gd name="connsiteX291" fmla="*/ 6724490 w 7308033"/>
                <a:gd name="connsiteY291" fmla="*/ 6119524 h 7484336"/>
                <a:gd name="connsiteX292" fmla="*/ 6444201 w 7308033"/>
                <a:gd name="connsiteY292" fmla="*/ 6194627 h 7484336"/>
                <a:gd name="connsiteX293" fmla="*/ 6494406 w 7308033"/>
                <a:gd name="connsiteY293" fmla="*/ 6117091 h 7484336"/>
                <a:gd name="connsiteX294" fmla="*/ 6541675 w 7308033"/>
                <a:gd name="connsiteY294" fmla="*/ 6026649 h 7484336"/>
                <a:gd name="connsiteX295" fmla="*/ 6628027 w 7308033"/>
                <a:gd name="connsiteY295" fmla="*/ 5886700 h 7484336"/>
                <a:gd name="connsiteX296" fmla="*/ 6708421 w 7308033"/>
                <a:gd name="connsiteY296" fmla="*/ 5743775 h 7484336"/>
                <a:gd name="connsiteX297" fmla="*/ 6738196 w 7308033"/>
                <a:gd name="connsiteY297" fmla="*/ 5690179 h 7484336"/>
                <a:gd name="connsiteX298" fmla="*/ 6762017 w 7308033"/>
                <a:gd name="connsiteY298" fmla="*/ 5639562 h 7484336"/>
                <a:gd name="connsiteX299" fmla="*/ 6800727 w 7308033"/>
                <a:gd name="connsiteY299" fmla="*/ 5544279 h 7484336"/>
                <a:gd name="connsiteX300" fmla="*/ 6884100 w 7308033"/>
                <a:gd name="connsiteY300" fmla="*/ 5362643 h 7484336"/>
                <a:gd name="connsiteX301" fmla="*/ 6916852 w 7308033"/>
                <a:gd name="connsiteY301" fmla="*/ 5240564 h 7484336"/>
                <a:gd name="connsiteX302" fmla="*/ 6997248 w 7308033"/>
                <a:gd name="connsiteY302" fmla="*/ 4996401 h 7484336"/>
                <a:gd name="connsiteX303" fmla="*/ 7032979 w 7308033"/>
                <a:gd name="connsiteY303" fmla="*/ 4805835 h 7484336"/>
                <a:gd name="connsiteX304" fmla="*/ 7080621 w 7308033"/>
                <a:gd name="connsiteY304" fmla="*/ 4576559 h 7484336"/>
                <a:gd name="connsiteX305" fmla="*/ 7091362 w 7308033"/>
                <a:gd name="connsiteY305" fmla="*/ 4536286 h 7484336"/>
                <a:gd name="connsiteX306" fmla="*/ 7083597 w 7308033"/>
                <a:gd name="connsiteY306" fmla="*/ 4534872 h 7484336"/>
                <a:gd name="connsiteX307" fmla="*/ 7086573 w 7308033"/>
                <a:gd name="connsiteY307" fmla="*/ 4460435 h 7484336"/>
                <a:gd name="connsiteX308" fmla="*/ 7088158 w 7308033"/>
                <a:gd name="connsiteY308" fmla="*/ 4454885 h 7484336"/>
                <a:gd name="connsiteX309" fmla="*/ 7086079 w 7308033"/>
                <a:gd name="connsiteY309" fmla="*/ 4455001 h 7484336"/>
                <a:gd name="connsiteX310" fmla="*/ 7082312 w 7308033"/>
                <a:gd name="connsiteY310" fmla="*/ 4455210 h 7484336"/>
                <a:gd name="connsiteX311" fmla="*/ 7083597 w 7308033"/>
                <a:gd name="connsiteY311" fmla="*/ 4469366 h 7484336"/>
                <a:gd name="connsiteX312" fmla="*/ 7080621 w 7308033"/>
                <a:gd name="connsiteY312" fmla="*/ 4543807 h 7484336"/>
                <a:gd name="connsiteX313" fmla="*/ 7068710 w 7308033"/>
                <a:gd name="connsiteY313" fmla="*/ 4588469 h 7484336"/>
                <a:gd name="connsiteX314" fmla="*/ 6997249 w 7308033"/>
                <a:gd name="connsiteY314" fmla="*/ 4701618 h 7484336"/>
                <a:gd name="connsiteX315" fmla="*/ 6979383 w 7308033"/>
                <a:gd name="connsiteY315" fmla="*/ 4799880 h 7484336"/>
                <a:gd name="connsiteX316" fmla="*/ 6961517 w 7308033"/>
                <a:gd name="connsiteY316" fmla="*/ 4832632 h 7484336"/>
                <a:gd name="connsiteX317" fmla="*/ 6931741 w 7308033"/>
                <a:gd name="connsiteY317" fmla="*/ 4975556 h 7484336"/>
                <a:gd name="connsiteX318" fmla="*/ 6898986 w 7308033"/>
                <a:gd name="connsiteY318" fmla="*/ 5088705 h 7484336"/>
                <a:gd name="connsiteX319" fmla="*/ 6863255 w 7308033"/>
                <a:gd name="connsiteY319" fmla="*/ 5198877 h 7484336"/>
                <a:gd name="connsiteX320" fmla="*/ 6842413 w 7308033"/>
                <a:gd name="connsiteY320" fmla="*/ 5285226 h 7484336"/>
                <a:gd name="connsiteX321" fmla="*/ 6818593 w 7308033"/>
                <a:gd name="connsiteY321" fmla="*/ 5374554 h 7484336"/>
                <a:gd name="connsiteX322" fmla="*/ 6837590 w 7308033"/>
                <a:gd name="connsiteY322" fmla="*/ 5345006 h 7484336"/>
                <a:gd name="connsiteX323" fmla="*/ 6854324 w 7308033"/>
                <a:gd name="connsiteY323" fmla="*/ 5282247 h 7484336"/>
                <a:gd name="connsiteX324" fmla="*/ 6869211 w 7308033"/>
                <a:gd name="connsiteY324" fmla="*/ 5192919 h 7484336"/>
                <a:gd name="connsiteX325" fmla="*/ 6904941 w 7308033"/>
                <a:gd name="connsiteY325" fmla="*/ 5082750 h 7484336"/>
                <a:gd name="connsiteX326" fmla="*/ 6937697 w 7308033"/>
                <a:gd name="connsiteY326" fmla="*/ 4969602 h 7484336"/>
                <a:gd name="connsiteX327" fmla="*/ 6967473 w 7308033"/>
                <a:gd name="connsiteY327" fmla="*/ 4826677 h 7484336"/>
                <a:gd name="connsiteX328" fmla="*/ 6985338 w 7308033"/>
                <a:gd name="connsiteY328" fmla="*/ 4793921 h 7484336"/>
                <a:gd name="connsiteX329" fmla="*/ 7003203 w 7308033"/>
                <a:gd name="connsiteY329" fmla="*/ 4695662 h 7484336"/>
                <a:gd name="connsiteX330" fmla="*/ 7074666 w 7308033"/>
                <a:gd name="connsiteY330" fmla="*/ 4582514 h 7484336"/>
                <a:gd name="connsiteX331" fmla="*/ 7027025 w 7308033"/>
                <a:gd name="connsiteY331" fmla="*/ 4811787 h 7484336"/>
                <a:gd name="connsiteX332" fmla="*/ 6991293 w 7308033"/>
                <a:gd name="connsiteY332" fmla="*/ 5002353 h 7484336"/>
                <a:gd name="connsiteX333" fmla="*/ 6910897 w 7308033"/>
                <a:gd name="connsiteY333" fmla="*/ 5246516 h 7484336"/>
                <a:gd name="connsiteX334" fmla="*/ 6894994 w 7308033"/>
                <a:gd name="connsiteY334" fmla="*/ 5271255 h 7484336"/>
                <a:gd name="connsiteX335" fmla="*/ 6888195 w 7308033"/>
                <a:gd name="connsiteY335" fmla="*/ 5308303 h 7484336"/>
                <a:gd name="connsiteX336" fmla="*/ 6866235 w 7308033"/>
                <a:gd name="connsiteY336" fmla="*/ 5371578 h 7484336"/>
                <a:gd name="connsiteX337" fmla="*/ 6782861 w 7308033"/>
                <a:gd name="connsiteY337" fmla="*/ 5553209 h 7484336"/>
                <a:gd name="connsiteX338" fmla="*/ 6744152 w 7308033"/>
                <a:gd name="connsiteY338" fmla="*/ 5648492 h 7484336"/>
                <a:gd name="connsiteX339" fmla="*/ 6720330 w 7308033"/>
                <a:gd name="connsiteY339" fmla="*/ 5699113 h 7484336"/>
                <a:gd name="connsiteX340" fmla="*/ 6690554 w 7308033"/>
                <a:gd name="connsiteY340" fmla="*/ 5752710 h 7484336"/>
                <a:gd name="connsiteX341" fmla="*/ 6610162 w 7308033"/>
                <a:gd name="connsiteY341" fmla="*/ 5895635 h 7484336"/>
                <a:gd name="connsiteX342" fmla="*/ 6523810 w 7308033"/>
                <a:gd name="connsiteY342" fmla="*/ 6035579 h 7484336"/>
                <a:gd name="connsiteX343" fmla="*/ 6476540 w 7308033"/>
                <a:gd name="connsiteY343" fmla="*/ 6127141 h 7484336"/>
                <a:gd name="connsiteX344" fmla="*/ 6429810 w 7308033"/>
                <a:gd name="connsiteY344" fmla="*/ 6198484 h 7484336"/>
                <a:gd name="connsiteX345" fmla="*/ 6336174 w 7308033"/>
                <a:gd name="connsiteY345" fmla="*/ 6223573 h 7484336"/>
                <a:gd name="connsiteX346" fmla="*/ 6354089 w 7308033"/>
                <a:gd name="connsiteY346" fmla="*/ 6196370 h 7484336"/>
                <a:gd name="connsiteX347" fmla="*/ 6446392 w 7308033"/>
                <a:gd name="connsiteY347" fmla="*/ 6074290 h 7484336"/>
                <a:gd name="connsiteX348" fmla="*/ 6485103 w 7308033"/>
                <a:gd name="connsiteY348" fmla="*/ 6008783 h 7484336"/>
                <a:gd name="connsiteX349" fmla="*/ 6523809 w 7308033"/>
                <a:gd name="connsiteY349" fmla="*/ 5937321 h 7484336"/>
                <a:gd name="connsiteX350" fmla="*/ 6534834 w 7308033"/>
                <a:gd name="connsiteY350" fmla="*/ 5919741 h 7484336"/>
                <a:gd name="connsiteX351" fmla="*/ 6593762 w 7308033"/>
                <a:gd name="connsiteY351" fmla="*/ 5834622 h 7484336"/>
                <a:gd name="connsiteX352" fmla="*/ 6604206 w 7308033"/>
                <a:gd name="connsiteY352" fmla="*/ 5821193 h 7484336"/>
                <a:gd name="connsiteX353" fmla="*/ 6605697 w 7308033"/>
                <a:gd name="connsiteY353" fmla="*/ 5817382 h 7484336"/>
                <a:gd name="connsiteX354" fmla="*/ 6593762 w 7308033"/>
                <a:gd name="connsiteY354" fmla="*/ 5834622 h 7484336"/>
                <a:gd name="connsiteX355" fmla="*/ 6565125 w 7308033"/>
                <a:gd name="connsiteY355" fmla="*/ 5871441 h 7484336"/>
                <a:gd name="connsiteX356" fmla="*/ 6534834 w 7308033"/>
                <a:gd name="connsiteY356" fmla="*/ 5919741 h 7484336"/>
                <a:gd name="connsiteX357" fmla="*/ 6526789 w 7308033"/>
                <a:gd name="connsiteY357" fmla="*/ 5931363 h 7484336"/>
                <a:gd name="connsiteX358" fmla="*/ 6488078 w 7308033"/>
                <a:gd name="connsiteY358" fmla="*/ 6002825 h 7484336"/>
                <a:gd name="connsiteX359" fmla="*/ 6449371 w 7308033"/>
                <a:gd name="connsiteY359" fmla="*/ 6068331 h 7484336"/>
                <a:gd name="connsiteX360" fmla="*/ 6357065 w 7308033"/>
                <a:gd name="connsiteY360" fmla="*/ 6190414 h 7484336"/>
                <a:gd name="connsiteX361" fmla="*/ 6335765 w 7308033"/>
                <a:gd name="connsiteY361" fmla="*/ 6223683 h 7484336"/>
                <a:gd name="connsiteX362" fmla="*/ 6265251 w 7308033"/>
                <a:gd name="connsiteY362" fmla="*/ 6242577 h 7484336"/>
                <a:gd name="connsiteX363" fmla="*/ 6265470 w 7308033"/>
                <a:gd name="connsiteY363" fmla="*/ 6242204 h 7484336"/>
                <a:gd name="connsiteX364" fmla="*/ 6267736 w 7308033"/>
                <a:gd name="connsiteY364" fmla="*/ 6235077 h 7484336"/>
                <a:gd name="connsiteX365" fmla="*/ 6345154 w 7308033"/>
                <a:gd name="connsiteY365" fmla="*/ 6115973 h 7484336"/>
                <a:gd name="connsiteX366" fmla="*/ 6368975 w 7308033"/>
                <a:gd name="connsiteY366" fmla="*/ 6080242 h 7484336"/>
                <a:gd name="connsiteX367" fmla="*/ 6400648 w 7308033"/>
                <a:gd name="connsiteY367" fmla="*/ 6036311 h 7484336"/>
                <a:gd name="connsiteX368" fmla="*/ 6410661 w 7308033"/>
                <a:gd name="connsiteY368" fmla="*/ 6017714 h 7484336"/>
                <a:gd name="connsiteX369" fmla="*/ 6473189 w 7308033"/>
                <a:gd name="connsiteY369" fmla="*/ 5910521 h 7484336"/>
                <a:gd name="connsiteX370" fmla="*/ 6595272 w 7308033"/>
                <a:gd name="connsiteY370" fmla="*/ 5657424 h 7484336"/>
                <a:gd name="connsiteX371" fmla="*/ 6714376 w 7308033"/>
                <a:gd name="connsiteY371" fmla="*/ 5386465 h 7484336"/>
                <a:gd name="connsiteX372" fmla="*/ 6749362 w 7308033"/>
                <a:gd name="connsiteY372" fmla="*/ 5276292 h 7484336"/>
                <a:gd name="connsiteX373" fmla="*/ 6760782 w 7308033"/>
                <a:gd name="connsiteY373" fmla="*/ 5233196 h 7484336"/>
                <a:gd name="connsiteX374" fmla="*/ 6673915 w 7308033"/>
                <a:gd name="connsiteY374" fmla="*/ 5470534 h 7484336"/>
                <a:gd name="connsiteX375" fmla="*/ 6491183 w 7308033"/>
                <a:gd name="connsiteY375" fmla="*/ 5844051 h 7484336"/>
                <a:gd name="connsiteX376" fmla="*/ 6464429 w 7308033"/>
                <a:gd name="connsiteY376" fmla="*/ 5886350 h 7484336"/>
                <a:gd name="connsiteX377" fmla="*/ 6464258 w 7308033"/>
                <a:gd name="connsiteY377" fmla="*/ 5886700 h 7484336"/>
                <a:gd name="connsiteX378" fmla="*/ 6401726 w 7308033"/>
                <a:gd name="connsiteY378" fmla="*/ 5993893 h 7484336"/>
                <a:gd name="connsiteX379" fmla="*/ 6339199 w 7308033"/>
                <a:gd name="connsiteY379" fmla="*/ 6110021 h 7484336"/>
                <a:gd name="connsiteX380" fmla="*/ 6267736 w 7308033"/>
                <a:gd name="connsiteY380" fmla="*/ 6199349 h 7484336"/>
                <a:gd name="connsiteX381" fmla="*/ 6234610 w 7308033"/>
                <a:gd name="connsiteY381" fmla="*/ 6249967 h 7484336"/>
                <a:gd name="connsiteX382" fmla="*/ 6234112 w 7308033"/>
                <a:gd name="connsiteY382" fmla="*/ 6250921 h 7484336"/>
                <a:gd name="connsiteX383" fmla="*/ 1630942 w 7308033"/>
                <a:gd name="connsiteY383" fmla="*/ 7484336 h 7484336"/>
                <a:gd name="connsiteX384" fmla="*/ 75670 w 7308033"/>
                <a:gd name="connsiteY384" fmla="*/ 1679985 h 7484336"/>
                <a:gd name="connsiteX385" fmla="*/ 151760 w 7308033"/>
                <a:gd name="connsiteY385" fmla="*/ 1595990 h 7484336"/>
                <a:gd name="connsiteX386" fmla="*/ 202378 w 7308033"/>
                <a:gd name="connsiteY386" fmla="*/ 1533459 h 7484336"/>
                <a:gd name="connsiteX387" fmla="*/ 252998 w 7308033"/>
                <a:gd name="connsiteY387" fmla="*/ 1473907 h 7484336"/>
                <a:gd name="connsiteX388" fmla="*/ 434630 w 7308033"/>
                <a:gd name="connsiteY388" fmla="*/ 1259520 h 7484336"/>
                <a:gd name="connsiteX389" fmla="*/ 438539 w 7308033"/>
                <a:gd name="connsiteY389" fmla="*/ 1253836 h 7484336"/>
                <a:gd name="connsiteX390" fmla="*/ 441521 w 7308033"/>
                <a:gd name="connsiteY390" fmla="*/ 1250083 h 7484336"/>
                <a:gd name="connsiteX391" fmla="*/ 443846 w 7308033"/>
                <a:gd name="connsiteY391" fmla="*/ 1246116 h 7484336"/>
                <a:gd name="connsiteX392" fmla="*/ 453049 w 7308033"/>
                <a:gd name="connsiteY392" fmla="*/ 1232733 h 7484336"/>
                <a:gd name="connsiteX393" fmla="*/ 483515 w 7308033"/>
                <a:gd name="connsiteY393" fmla="*/ 1198305 h 7484336"/>
                <a:gd name="connsiteX394" fmla="*/ 485826 w 7308033"/>
                <a:gd name="connsiteY394" fmla="*/ 1195883 h 7484336"/>
                <a:gd name="connsiteX395" fmla="*/ 485254 w 7308033"/>
                <a:gd name="connsiteY395" fmla="*/ 1196339 h 7484336"/>
                <a:gd name="connsiteX396" fmla="*/ 483515 w 7308033"/>
                <a:gd name="connsiteY396" fmla="*/ 1198305 h 7484336"/>
                <a:gd name="connsiteX397" fmla="*/ 459198 w 7308033"/>
                <a:gd name="connsiteY397" fmla="*/ 1223789 h 7484336"/>
                <a:gd name="connsiteX398" fmla="*/ 453049 w 7308033"/>
                <a:gd name="connsiteY398" fmla="*/ 1232733 h 7484336"/>
                <a:gd name="connsiteX399" fmla="*/ 449032 w 7308033"/>
                <a:gd name="connsiteY399" fmla="*/ 1237272 h 7484336"/>
                <a:gd name="connsiteX400" fmla="*/ 443846 w 7308033"/>
                <a:gd name="connsiteY400" fmla="*/ 1246116 h 7484336"/>
                <a:gd name="connsiteX401" fmla="*/ 438539 w 7308033"/>
                <a:gd name="connsiteY401" fmla="*/ 1253836 h 7484336"/>
                <a:gd name="connsiteX402" fmla="*/ 431654 w 7308033"/>
                <a:gd name="connsiteY402" fmla="*/ 1262500 h 7484336"/>
                <a:gd name="connsiteX403" fmla="*/ 250022 w 7308033"/>
                <a:gd name="connsiteY403" fmla="*/ 1476886 h 7484336"/>
                <a:gd name="connsiteX404" fmla="*/ 199402 w 7308033"/>
                <a:gd name="connsiteY404" fmla="*/ 1536438 h 7484336"/>
                <a:gd name="connsiteX405" fmla="*/ 148784 w 7308033"/>
                <a:gd name="connsiteY405" fmla="*/ 1598966 h 7484336"/>
                <a:gd name="connsiteX406" fmla="*/ 75627 w 7308033"/>
                <a:gd name="connsiteY406" fmla="*/ 1679824 h 7484336"/>
                <a:gd name="connsiteX407" fmla="*/ 58982 w 7308033"/>
                <a:gd name="connsiteY407" fmla="*/ 1617705 h 7484336"/>
                <a:gd name="connsiteX408" fmla="*/ 170371 w 7308033"/>
                <a:gd name="connsiteY408" fmla="*/ 1479863 h 7484336"/>
                <a:gd name="connsiteX409" fmla="*/ 443564 w 7308033"/>
                <a:gd name="connsiteY409" fmla="*/ 1191037 h 7484336"/>
                <a:gd name="connsiteX410" fmla="*/ 580533 w 7308033"/>
                <a:gd name="connsiteY410" fmla="*/ 1065979 h 7484336"/>
                <a:gd name="connsiteX411" fmla="*/ 908069 w 7308033"/>
                <a:gd name="connsiteY411" fmla="*/ 809905 h 7484336"/>
                <a:gd name="connsiteX412" fmla="*/ 1021217 w 7308033"/>
                <a:gd name="connsiteY412" fmla="*/ 720578 h 7484336"/>
                <a:gd name="connsiteX413" fmla="*/ 1170097 w 7308033"/>
                <a:gd name="connsiteY413" fmla="*/ 643160 h 7484336"/>
                <a:gd name="connsiteX414" fmla="*/ 1265380 w 7308033"/>
                <a:gd name="connsiteY414" fmla="*/ 592540 h 7484336"/>
                <a:gd name="connsiteX415" fmla="*/ 1316001 w 7308033"/>
                <a:gd name="connsiteY415" fmla="*/ 565743 h 7484336"/>
                <a:gd name="connsiteX416" fmla="*/ 1372573 w 7308033"/>
                <a:gd name="connsiteY416" fmla="*/ 544898 h 7484336"/>
                <a:gd name="connsiteX417" fmla="*/ 1560163 w 7308033"/>
                <a:gd name="connsiteY417" fmla="*/ 461525 h 7484336"/>
                <a:gd name="connsiteX418" fmla="*/ 1811397 w 7308033"/>
                <a:gd name="connsiteY418" fmla="*/ 355077 h 7484336"/>
                <a:gd name="connsiteX419" fmla="*/ 1124673 w 7308033"/>
                <a:gd name="connsiteY419" fmla="*/ 520067 h 7484336"/>
                <a:gd name="connsiteX420" fmla="*/ 2022132 w 7308033"/>
                <a:gd name="connsiteY420" fmla="*/ 279593 h 7484336"/>
                <a:gd name="connsiteX421" fmla="*/ 1806557 w 7308033"/>
                <a:gd name="connsiteY421" fmla="*/ 355076 h 7484336"/>
                <a:gd name="connsiteX422" fmla="*/ 1554205 w 7308033"/>
                <a:gd name="connsiteY422" fmla="*/ 461525 h 7484336"/>
                <a:gd name="connsiteX423" fmla="*/ 1366618 w 7308033"/>
                <a:gd name="connsiteY423" fmla="*/ 544898 h 7484336"/>
                <a:gd name="connsiteX424" fmla="*/ 1310042 w 7308033"/>
                <a:gd name="connsiteY424" fmla="*/ 565740 h 7484336"/>
                <a:gd name="connsiteX425" fmla="*/ 1259425 w 7308033"/>
                <a:gd name="connsiteY425" fmla="*/ 592540 h 7484336"/>
                <a:gd name="connsiteX426" fmla="*/ 1164142 w 7308033"/>
                <a:gd name="connsiteY426" fmla="*/ 643157 h 7484336"/>
                <a:gd name="connsiteX427" fmla="*/ 1015262 w 7308033"/>
                <a:gd name="connsiteY427" fmla="*/ 720574 h 7484336"/>
                <a:gd name="connsiteX428" fmla="*/ 902114 w 7308033"/>
                <a:gd name="connsiteY428" fmla="*/ 809902 h 7484336"/>
                <a:gd name="connsiteX429" fmla="*/ 574578 w 7308033"/>
                <a:gd name="connsiteY429" fmla="*/ 1065975 h 7484336"/>
                <a:gd name="connsiteX430" fmla="*/ 506130 w 7308033"/>
                <a:gd name="connsiteY430" fmla="*/ 1125496 h 7484336"/>
                <a:gd name="connsiteX431" fmla="*/ 439166 w 7308033"/>
                <a:gd name="connsiteY431" fmla="*/ 1186639 h 7484336"/>
                <a:gd name="connsiteX432" fmla="*/ 440585 w 7308033"/>
                <a:gd name="connsiteY432" fmla="*/ 1188058 h 7484336"/>
                <a:gd name="connsiteX433" fmla="*/ 167392 w 7308033"/>
                <a:gd name="connsiteY433" fmla="*/ 1478001 h 7484336"/>
                <a:gd name="connsiteX434" fmla="*/ 57891 w 7308033"/>
                <a:gd name="connsiteY434" fmla="*/ 1613630 h 7484336"/>
                <a:gd name="connsiteX435" fmla="*/ 0 w 7308033"/>
                <a:gd name="connsiteY435" fmla="*/ 1397579 h 7484336"/>
                <a:gd name="connsiteX436" fmla="*/ 20746 w 7308033"/>
                <a:gd name="connsiteY436" fmla="*/ 1378624 h 7484336"/>
                <a:gd name="connsiteX437" fmla="*/ 23259 w 7308033"/>
                <a:gd name="connsiteY437" fmla="*/ 1423427 h 7484336"/>
                <a:gd name="connsiteX438" fmla="*/ 16526 w 7308033"/>
                <a:gd name="connsiteY438" fmla="*/ 1442259 h 7484336"/>
                <a:gd name="connsiteX439" fmla="*/ 113050 w 7308033"/>
                <a:gd name="connsiteY439" fmla="*/ 1342893 h 7484336"/>
                <a:gd name="connsiteX440" fmla="*/ 160691 w 7308033"/>
                <a:gd name="connsiteY440" fmla="*/ 1280365 h 7484336"/>
                <a:gd name="connsiteX441" fmla="*/ 223222 w 7308033"/>
                <a:gd name="connsiteY441" fmla="*/ 1220813 h 7484336"/>
                <a:gd name="connsiteX442" fmla="*/ 228612 w 7308033"/>
                <a:gd name="connsiteY442" fmla="*/ 1226800 h 7484336"/>
                <a:gd name="connsiteX443" fmla="*/ 226201 w 7308033"/>
                <a:gd name="connsiteY443" fmla="*/ 1223789 h 7484336"/>
                <a:gd name="connsiteX444" fmla="*/ 303619 w 7308033"/>
                <a:gd name="connsiteY444" fmla="*/ 1146372 h 7484336"/>
                <a:gd name="connsiteX445" fmla="*/ 381036 w 7308033"/>
                <a:gd name="connsiteY445" fmla="*/ 1074910 h 7484336"/>
                <a:gd name="connsiteX446" fmla="*/ 464409 w 7308033"/>
                <a:gd name="connsiteY446" fmla="*/ 985582 h 7484336"/>
                <a:gd name="connsiteX447" fmla="*/ 580534 w 7308033"/>
                <a:gd name="connsiteY447" fmla="*/ 899230 h 7484336"/>
                <a:gd name="connsiteX448" fmla="*/ 705592 w 7308033"/>
                <a:gd name="connsiteY448" fmla="*/ 806926 h 7484336"/>
                <a:gd name="connsiteX449" fmla="*/ 780365 w 7308033"/>
                <a:gd name="connsiteY449" fmla="*/ 754761 h 7484336"/>
                <a:gd name="connsiteX450" fmla="*/ 830651 w 7308033"/>
                <a:gd name="connsiteY450" fmla="*/ 708664 h 7484336"/>
                <a:gd name="connsiteX451" fmla="*/ 919979 w 7308033"/>
                <a:gd name="connsiteY451" fmla="*/ 655067 h 7484336"/>
                <a:gd name="connsiteX452" fmla="*/ 1015262 w 7308033"/>
                <a:gd name="connsiteY452" fmla="*/ 604450 h 7484336"/>
                <a:gd name="connsiteX453" fmla="*/ 1027876 w 7308033"/>
                <a:gd name="connsiteY453" fmla="*/ 597963 h 7484336"/>
                <a:gd name="connsiteX454" fmla="*/ 1060299 w 7308033"/>
                <a:gd name="connsiteY454" fmla="*/ 566115 h 7484336"/>
                <a:gd name="connsiteX455" fmla="*/ 1113524 w 7308033"/>
                <a:gd name="connsiteY455" fmla="*/ 527032 h 7484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</a:cxnLst>
              <a:rect l="l" t="t" r="r" b="b"/>
              <a:pathLst>
                <a:path w="7308033" h="7484336">
                  <a:moveTo>
                    <a:pt x="6913876" y="5776530"/>
                  </a:moveTo>
                  <a:cubicBezTo>
                    <a:pt x="6904942" y="5815238"/>
                    <a:pt x="6893031" y="5850969"/>
                    <a:pt x="6875166" y="5892655"/>
                  </a:cubicBezTo>
                  <a:cubicBezTo>
                    <a:pt x="6857300" y="5931366"/>
                    <a:pt x="6836458" y="5973052"/>
                    <a:pt x="6806682" y="6017714"/>
                  </a:cubicBezTo>
                  <a:cubicBezTo>
                    <a:pt x="6794772" y="6041535"/>
                    <a:pt x="6782862" y="6064611"/>
                    <a:pt x="6771323" y="6086199"/>
                  </a:cubicBezTo>
                  <a:lnTo>
                    <a:pt x="6757742" y="6110614"/>
                  </a:lnTo>
                  <a:lnTo>
                    <a:pt x="6727685" y="6118668"/>
                  </a:lnTo>
                  <a:lnTo>
                    <a:pt x="6753086" y="6059400"/>
                  </a:lnTo>
                  <a:cubicBezTo>
                    <a:pt x="6764996" y="6041535"/>
                    <a:pt x="6770951" y="6029624"/>
                    <a:pt x="6779882" y="6014738"/>
                  </a:cubicBezTo>
                  <a:cubicBezTo>
                    <a:pt x="6791793" y="5993894"/>
                    <a:pt x="6803704" y="5976028"/>
                    <a:pt x="6815614" y="5955186"/>
                  </a:cubicBezTo>
                  <a:cubicBezTo>
                    <a:pt x="6827524" y="5934342"/>
                    <a:pt x="6836459" y="5916476"/>
                    <a:pt x="6848369" y="5895635"/>
                  </a:cubicBezTo>
                  <a:cubicBezTo>
                    <a:pt x="6869210" y="5856924"/>
                    <a:pt x="6893031" y="5818217"/>
                    <a:pt x="6913876" y="5776530"/>
                  </a:cubicBezTo>
                  <a:close/>
                  <a:moveTo>
                    <a:pt x="6721144" y="5521292"/>
                  </a:moveTo>
                  <a:lnTo>
                    <a:pt x="6648868" y="5648492"/>
                  </a:lnTo>
                  <a:lnTo>
                    <a:pt x="6647540" y="5651550"/>
                  </a:lnTo>
                  <a:lnTo>
                    <a:pt x="6720331" y="5523433"/>
                  </a:lnTo>
                  <a:close/>
                  <a:moveTo>
                    <a:pt x="7114698" y="4793131"/>
                  </a:moveTo>
                  <a:lnTo>
                    <a:pt x="7113630" y="4798399"/>
                  </a:lnTo>
                  <a:lnTo>
                    <a:pt x="7122304" y="4808811"/>
                  </a:lnTo>
                  <a:cubicBezTo>
                    <a:pt x="7131239" y="4817745"/>
                    <a:pt x="7140170" y="4829656"/>
                    <a:pt x="7149104" y="4838587"/>
                  </a:cubicBezTo>
                  <a:lnTo>
                    <a:pt x="7157044" y="4831309"/>
                  </a:lnTo>
                  <a:lnTo>
                    <a:pt x="7159029" y="4829985"/>
                  </a:lnTo>
                  <a:lnTo>
                    <a:pt x="7166970" y="4826677"/>
                  </a:lnTo>
                  <a:lnTo>
                    <a:pt x="7167420" y="4824391"/>
                  </a:lnTo>
                  <a:lnTo>
                    <a:pt x="7159029" y="4829985"/>
                  </a:lnTo>
                  <a:lnTo>
                    <a:pt x="7158037" y="4830399"/>
                  </a:lnTo>
                  <a:lnTo>
                    <a:pt x="7157044" y="4831309"/>
                  </a:lnTo>
                  <a:lnTo>
                    <a:pt x="7155060" y="4832632"/>
                  </a:lnTo>
                  <a:cubicBezTo>
                    <a:pt x="7143149" y="4826677"/>
                    <a:pt x="7134218" y="4814766"/>
                    <a:pt x="7125284" y="4805832"/>
                  </a:cubicBezTo>
                  <a:close/>
                  <a:moveTo>
                    <a:pt x="7152080" y="4391948"/>
                  </a:moveTo>
                  <a:lnTo>
                    <a:pt x="7117409" y="4536420"/>
                  </a:lnTo>
                  <a:lnTo>
                    <a:pt x="7117412" y="4536420"/>
                  </a:lnTo>
                  <a:lnTo>
                    <a:pt x="7152083" y="4391952"/>
                  </a:lnTo>
                  <a:close/>
                  <a:moveTo>
                    <a:pt x="7178880" y="4362173"/>
                  </a:moveTo>
                  <a:cubicBezTo>
                    <a:pt x="7172925" y="4374083"/>
                    <a:pt x="7166970" y="4383017"/>
                    <a:pt x="7161015" y="4400883"/>
                  </a:cubicBezTo>
                  <a:lnTo>
                    <a:pt x="7156923" y="4482020"/>
                  </a:lnTo>
                  <a:cubicBezTo>
                    <a:pt x="7156551" y="4505097"/>
                    <a:pt x="7156550" y="4527429"/>
                    <a:pt x="7155060" y="4558694"/>
                  </a:cubicBezTo>
                  <a:lnTo>
                    <a:pt x="7125284" y="4650316"/>
                  </a:lnTo>
                  <a:lnTo>
                    <a:pt x="7125283" y="4660782"/>
                  </a:lnTo>
                  <a:lnTo>
                    <a:pt x="7161015" y="4558693"/>
                  </a:lnTo>
                  <a:cubicBezTo>
                    <a:pt x="7163993" y="4496163"/>
                    <a:pt x="7161014" y="4469366"/>
                    <a:pt x="7166970" y="4400880"/>
                  </a:cubicBezTo>
                  <a:lnTo>
                    <a:pt x="7180853" y="4370804"/>
                  </a:lnTo>
                  <a:close/>
                  <a:moveTo>
                    <a:pt x="7050842" y="4234134"/>
                  </a:moveTo>
                  <a:lnTo>
                    <a:pt x="7031332" y="4280253"/>
                  </a:lnTo>
                  <a:lnTo>
                    <a:pt x="7024045" y="4347286"/>
                  </a:lnTo>
                  <a:lnTo>
                    <a:pt x="7014651" y="4315972"/>
                  </a:lnTo>
                  <a:lnTo>
                    <a:pt x="7011215" y="4320392"/>
                  </a:lnTo>
                  <a:lnTo>
                    <a:pt x="7021069" y="4353241"/>
                  </a:lnTo>
                  <a:cubicBezTo>
                    <a:pt x="7018090" y="4368128"/>
                    <a:pt x="7018090" y="4383017"/>
                    <a:pt x="7015114" y="4400882"/>
                  </a:cubicBezTo>
                  <a:cubicBezTo>
                    <a:pt x="7021069" y="4409814"/>
                    <a:pt x="7024045" y="4424704"/>
                    <a:pt x="7027025" y="4439590"/>
                  </a:cubicBezTo>
                  <a:lnTo>
                    <a:pt x="7036255" y="4439077"/>
                  </a:lnTo>
                  <a:lnTo>
                    <a:pt x="7030001" y="4418745"/>
                  </a:lnTo>
                  <a:cubicBezTo>
                    <a:pt x="7032977" y="4400880"/>
                    <a:pt x="7032977" y="4385993"/>
                    <a:pt x="7035955" y="4371104"/>
                  </a:cubicBezTo>
                  <a:cubicBezTo>
                    <a:pt x="7041911" y="4329417"/>
                    <a:pt x="7044887" y="4281776"/>
                    <a:pt x="7050842" y="4234134"/>
                  </a:cubicBezTo>
                  <a:close/>
                  <a:moveTo>
                    <a:pt x="7300963" y="4153741"/>
                  </a:moveTo>
                  <a:cubicBezTo>
                    <a:pt x="7303939" y="4156717"/>
                    <a:pt x="7303939" y="4156717"/>
                    <a:pt x="7306918" y="4156717"/>
                  </a:cubicBezTo>
                  <a:cubicBezTo>
                    <a:pt x="7306918" y="4207338"/>
                    <a:pt x="7303939" y="4249024"/>
                    <a:pt x="7303939" y="4281775"/>
                  </a:cubicBezTo>
                  <a:cubicBezTo>
                    <a:pt x="7303939" y="4314531"/>
                    <a:pt x="7306918" y="4341328"/>
                    <a:pt x="7306918" y="4368127"/>
                  </a:cubicBezTo>
                  <a:cubicBezTo>
                    <a:pt x="7309894" y="4418745"/>
                    <a:pt x="7306918" y="4457456"/>
                    <a:pt x="7297984" y="4525938"/>
                  </a:cubicBezTo>
                  <a:cubicBezTo>
                    <a:pt x="7300963" y="4543804"/>
                    <a:pt x="7295008" y="4573580"/>
                    <a:pt x="7289052" y="4615266"/>
                  </a:cubicBezTo>
                  <a:cubicBezTo>
                    <a:pt x="7280118" y="4653976"/>
                    <a:pt x="7271187" y="4701618"/>
                    <a:pt x="7262253" y="4746280"/>
                  </a:cubicBezTo>
                  <a:cubicBezTo>
                    <a:pt x="7259277" y="4782012"/>
                    <a:pt x="7259277" y="4820722"/>
                    <a:pt x="7253322" y="4856452"/>
                  </a:cubicBezTo>
                  <a:cubicBezTo>
                    <a:pt x="7232476" y="4921960"/>
                    <a:pt x="7229500" y="4975557"/>
                    <a:pt x="7208656" y="5058929"/>
                  </a:cubicBezTo>
                  <a:cubicBezTo>
                    <a:pt x="7193769" y="5118481"/>
                    <a:pt x="7181859" y="5178033"/>
                    <a:pt x="7166969" y="5234606"/>
                  </a:cubicBezTo>
                  <a:cubicBezTo>
                    <a:pt x="7131239" y="5270337"/>
                    <a:pt x="7134217" y="5216740"/>
                    <a:pt x="7092532" y="5267360"/>
                  </a:cubicBezTo>
                  <a:cubicBezTo>
                    <a:pt x="7092532" y="5264381"/>
                    <a:pt x="7095507" y="5252471"/>
                    <a:pt x="7098487" y="5249495"/>
                  </a:cubicBezTo>
                  <a:cubicBezTo>
                    <a:pt x="7101462" y="5201854"/>
                    <a:pt x="7089552" y="5192922"/>
                    <a:pt x="7110397" y="5124436"/>
                  </a:cubicBezTo>
                  <a:cubicBezTo>
                    <a:pt x="7125283" y="5082750"/>
                    <a:pt x="7143149" y="5038088"/>
                    <a:pt x="7155060" y="4993422"/>
                  </a:cubicBezTo>
                  <a:lnTo>
                    <a:pt x="7190791" y="4972581"/>
                  </a:lnTo>
                  <a:lnTo>
                    <a:pt x="7190791" y="4972577"/>
                  </a:lnTo>
                  <a:cubicBezTo>
                    <a:pt x="7217590" y="4853473"/>
                    <a:pt x="7208656" y="4826677"/>
                    <a:pt x="7229501" y="4746280"/>
                  </a:cubicBezTo>
                  <a:cubicBezTo>
                    <a:pt x="7235456" y="4710549"/>
                    <a:pt x="7244387" y="4674818"/>
                    <a:pt x="7250343" y="4639087"/>
                  </a:cubicBezTo>
                  <a:cubicBezTo>
                    <a:pt x="7256297" y="4603356"/>
                    <a:pt x="7262252" y="4564648"/>
                    <a:pt x="7268208" y="4528918"/>
                  </a:cubicBezTo>
                  <a:cubicBezTo>
                    <a:pt x="7274163" y="4493187"/>
                    <a:pt x="7277142" y="4457456"/>
                    <a:pt x="7283097" y="4424700"/>
                  </a:cubicBezTo>
                  <a:cubicBezTo>
                    <a:pt x="7286073" y="4391948"/>
                    <a:pt x="7289052" y="4359193"/>
                    <a:pt x="7289052" y="4326441"/>
                  </a:cubicBezTo>
                  <a:cubicBezTo>
                    <a:pt x="7286073" y="4302621"/>
                    <a:pt x="7289053" y="4272845"/>
                    <a:pt x="7292029" y="4243069"/>
                  </a:cubicBezTo>
                  <a:cubicBezTo>
                    <a:pt x="7295007" y="4228179"/>
                    <a:pt x="7295007" y="4213293"/>
                    <a:pt x="7297984" y="4198403"/>
                  </a:cubicBezTo>
                  <a:cubicBezTo>
                    <a:pt x="7297984" y="4183517"/>
                    <a:pt x="7300963" y="4168627"/>
                    <a:pt x="7300963" y="4153741"/>
                  </a:cubicBezTo>
                  <a:close/>
                  <a:moveTo>
                    <a:pt x="4874223" y="452594"/>
                  </a:moveTo>
                  <a:cubicBezTo>
                    <a:pt x="4942706" y="479391"/>
                    <a:pt x="4990348" y="500236"/>
                    <a:pt x="5026078" y="521077"/>
                  </a:cubicBezTo>
                  <a:cubicBezTo>
                    <a:pt x="5061809" y="538943"/>
                    <a:pt x="5082655" y="556808"/>
                    <a:pt x="5091585" y="574674"/>
                  </a:cubicBezTo>
                  <a:cubicBezTo>
                    <a:pt x="5035013" y="544898"/>
                    <a:pt x="4984392" y="524057"/>
                    <a:pt x="4945685" y="503212"/>
                  </a:cubicBezTo>
                  <a:cubicBezTo>
                    <a:pt x="4906975" y="482370"/>
                    <a:pt x="4883154" y="464505"/>
                    <a:pt x="4874223" y="452594"/>
                  </a:cubicBezTo>
                  <a:close/>
                  <a:moveTo>
                    <a:pt x="4379943" y="235228"/>
                  </a:moveTo>
                  <a:cubicBezTo>
                    <a:pt x="4406739" y="235228"/>
                    <a:pt x="4451404" y="244160"/>
                    <a:pt x="4499046" y="262025"/>
                  </a:cubicBezTo>
                  <a:cubicBezTo>
                    <a:pt x="4549663" y="282870"/>
                    <a:pt x="4606240" y="312646"/>
                    <a:pt x="4665792" y="345398"/>
                  </a:cubicBezTo>
                  <a:cubicBezTo>
                    <a:pt x="4505002" y="294780"/>
                    <a:pt x="4397808" y="262025"/>
                    <a:pt x="4379943" y="235228"/>
                  </a:cubicBezTo>
                  <a:close/>
                  <a:moveTo>
                    <a:pt x="3998811" y="128035"/>
                  </a:moveTo>
                  <a:cubicBezTo>
                    <a:pt x="4040496" y="131011"/>
                    <a:pt x="4079204" y="133990"/>
                    <a:pt x="4120890" y="136966"/>
                  </a:cubicBezTo>
                  <a:cubicBezTo>
                    <a:pt x="4171511" y="151856"/>
                    <a:pt x="4219152" y="175677"/>
                    <a:pt x="4269770" y="196518"/>
                  </a:cubicBezTo>
                  <a:cubicBezTo>
                    <a:pt x="4198308" y="187587"/>
                    <a:pt x="4132800" y="172697"/>
                    <a:pt x="4085159" y="163766"/>
                  </a:cubicBezTo>
                  <a:cubicBezTo>
                    <a:pt x="4037517" y="151856"/>
                    <a:pt x="4004766" y="139945"/>
                    <a:pt x="3998811" y="128035"/>
                  </a:cubicBezTo>
                  <a:close/>
                  <a:moveTo>
                    <a:pt x="550622" y="992975"/>
                  </a:moveTo>
                  <a:cubicBezTo>
                    <a:pt x="546123" y="994683"/>
                    <a:pt x="540937" y="997078"/>
                    <a:pt x="535712" y="999512"/>
                  </a:cubicBezTo>
                  <a:lnTo>
                    <a:pt x="516599" y="1006608"/>
                  </a:lnTo>
                  <a:lnTo>
                    <a:pt x="512050" y="1012379"/>
                  </a:lnTo>
                  <a:cubicBezTo>
                    <a:pt x="500140" y="1021313"/>
                    <a:pt x="488230" y="1030244"/>
                    <a:pt x="479295" y="1042154"/>
                  </a:cubicBezTo>
                  <a:cubicBezTo>
                    <a:pt x="449519" y="1060020"/>
                    <a:pt x="425699" y="1074910"/>
                    <a:pt x="395923" y="1095751"/>
                  </a:cubicBezTo>
                  <a:lnTo>
                    <a:pt x="339350" y="1158282"/>
                  </a:lnTo>
                  <a:lnTo>
                    <a:pt x="285753" y="1220810"/>
                  </a:lnTo>
                  <a:cubicBezTo>
                    <a:pt x="273843" y="1229744"/>
                    <a:pt x="264909" y="1238676"/>
                    <a:pt x="250022" y="1253565"/>
                  </a:cubicBezTo>
                  <a:lnTo>
                    <a:pt x="248809" y="1252046"/>
                  </a:lnTo>
                  <a:lnTo>
                    <a:pt x="215035" y="1292647"/>
                  </a:lnTo>
                  <a:cubicBezTo>
                    <a:pt x="203125" y="1309397"/>
                    <a:pt x="187491" y="1330986"/>
                    <a:pt x="157715" y="1363738"/>
                  </a:cubicBezTo>
                  <a:lnTo>
                    <a:pt x="65411" y="1464976"/>
                  </a:lnTo>
                  <a:lnTo>
                    <a:pt x="80298" y="1482838"/>
                  </a:lnTo>
                  <a:lnTo>
                    <a:pt x="80582" y="1482588"/>
                  </a:lnTo>
                  <a:lnTo>
                    <a:pt x="68387" y="1467952"/>
                  </a:lnTo>
                  <a:cubicBezTo>
                    <a:pt x="98163" y="1435200"/>
                    <a:pt x="133895" y="1399469"/>
                    <a:pt x="160691" y="1366714"/>
                  </a:cubicBezTo>
                  <a:cubicBezTo>
                    <a:pt x="220243" y="1301207"/>
                    <a:pt x="223222" y="1280365"/>
                    <a:pt x="252998" y="1253565"/>
                  </a:cubicBezTo>
                  <a:cubicBezTo>
                    <a:pt x="267885" y="1238679"/>
                    <a:pt x="279795" y="1229744"/>
                    <a:pt x="288729" y="1220813"/>
                  </a:cubicBezTo>
                  <a:lnTo>
                    <a:pt x="342326" y="1158282"/>
                  </a:lnTo>
                  <a:lnTo>
                    <a:pt x="398899" y="1095754"/>
                  </a:lnTo>
                  <a:cubicBezTo>
                    <a:pt x="428675" y="1077889"/>
                    <a:pt x="452495" y="1062999"/>
                    <a:pt x="482271" y="1042158"/>
                  </a:cubicBezTo>
                  <a:cubicBezTo>
                    <a:pt x="494182" y="1033223"/>
                    <a:pt x="506092" y="1021313"/>
                    <a:pt x="515026" y="1012382"/>
                  </a:cubicBezTo>
                  <a:cubicBezTo>
                    <a:pt x="520982" y="1013870"/>
                    <a:pt x="537359" y="1004939"/>
                    <a:pt x="550758" y="998983"/>
                  </a:cubicBezTo>
                  <a:lnTo>
                    <a:pt x="562036" y="995482"/>
                  </a:lnTo>
                  <a:lnTo>
                    <a:pt x="561411" y="990559"/>
                  </a:lnTo>
                  <a:cubicBezTo>
                    <a:pt x="558934" y="990246"/>
                    <a:pt x="555122" y="991267"/>
                    <a:pt x="550622" y="992975"/>
                  </a:cubicBezTo>
                  <a:close/>
                  <a:moveTo>
                    <a:pt x="3599813" y="151856"/>
                  </a:moveTo>
                  <a:cubicBezTo>
                    <a:pt x="3613211" y="150368"/>
                    <a:pt x="3631821" y="150368"/>
                    <a:pt x="3652293" y="151484"/>
                  </a:cubicBezTo>
                  <a:cubicBezTo>
                    <a:pt x="3672763" y="152600"/>
                    <a:pt x="3695096" y="154835"/>
                    <a:pt x="3715937" y="157811"/>
                  </a:cubicBezTo>
                  <a:cubicBezTo>
                    <a:pt x="3757624" y="163766"/>
                    <a:pt x="3793355" y="175677"/>
                    <a:pt x="3802289" y="187587"/>
                  </a:cubicBezTo>
                  <a:cubicBezTo>
                    <a:pt x="3784424" y="184611"/>
                    <a:pt x="3766558" y="181632"/>
                    <a:pt x="3736782" y="178656"/>
                  </a:cubicBezTo>
                  <a:cubicBezTo>
                    <a:pt x="3707007" y="175677"/>
                    <a:pt x="3665320" y="166745"/>
                    <a:pt x="3599813" y="151856"/>
                  </a:cubicBezTo>
                  <a:close/>
                  <a:moveTo>
                    <a:pt x="1994473" y="334850"/>
                  </a:moveTo>
                  <a:lnTo>
                    <a:pt x="1968092" y="345401"/>
                  </a:lnTo>
                  <a:cubicBezTo>
                    <a:pt x="1908540" y="366242"/>
                    <a:pt x="1846012" y="384108"/>
                    <a:pt x="1786460" y="407929"/>
                  </a:cubicBezTo>
                  <a:cubicBezTo>
                    <a:pt x="1726908" y="431749"/>
                    <a:pt x="1667357" y="452594"/>
                    <a:pt x="1607805" y="479391"/>
                  </a:cubicBezTo>
                  <a:cubicBezTo>
                    <a:pt x="1563139" y="500236"/>
                    <a:pt x="1521453" y="518101"/>
                    <a:pt x="1482746" y="535967"/>
                  </a:cubicBezTo>
                  <a:cubicBezTo>
                    <a:pt x="1455946" y="541922"/>
                    <a:pt x="1426170" y="556808"/>
                    <a:pt x="1399373" y="568719"/>
                  </a:cubicBezTo>
                  <a:cubicBezTo>
                    <a:pt x="1327911" y="595519"/>
                    <a:pt x="1262404" y="631250"/>
                    <a:pt x="1193918" y="664002"/>
                  </a:cubicBezTo>
                  <a:cubicBezTo>
                    <a:pt x="1161166" y="681867"/>
                    <a:pt x="1128411" y="705688"/>
                    <a:pt x="1095659" y="726533"/>
                  </a:cubicBezTo>
                  <a:cubicBezTo>
                    <a:pt x="1062904" y="747374"/>
                    <a:pt x="1030152" y="768219"/>
                    <a:pt x="1000376" y="789061"/>
                  </a:cubicBezTo>
                  <a:cubicBezTo>
                    <a:pt x="964645" y="824792"/>
                    <a:pt x="899138" y="875412"/>
                    <a:pt x="848517" y="902209"/>
                  </a:cubicBezTo>
                  <a:cubicBezTo>
                    <a:pt x="800875" y="937940"/>
                    <a:pt x="753234" y="976651"/>
                    <a:pt x="705592" y="1015358"/>
                  </a:cubicBezTo>
                  <a:lnTo>
                    <a:pt x="568804" y="1134687"/>
                  </a:lnTo>
                  <a:lnTo>
                    <a:pt x="580534" y="1149351"/>
                  </a:lnTo>
                  <a:cubicBezTo>
                    <a:pt x="586489" y="1146375"/>
                    <a:pt x="597099" y="1138744"/>
                    <a:pt x="609565" y="1129438"/>
                  </a:cubicBezTo>
                  <a:lnTo>
                    <a:pt x="634277" y="1111019"/>
                  </a:lnTo>
                  <a:lnTo>
                    <a:pt x="723458" y="1033223"/>
                  </a:lnTo>
                  <a:cubicBezTo>
                    <a:pt x="771099" y="994513"/>
                    <a:pt x="818741" y="958782"/>
                    <a:pt x="866382" y="920075"/>
                  </a:cubicBezTo>
                  <a:cubicBezTo>
                    <a:pt x="917000" y="893275"/>
                    <a:pt x="979531" y="842657"/>
                    <a:pt x="1018238" y="806926"/>
                  </a:cubicBezTo>
                  <a:cubicBezTo>
                    <a:pt x="1050993" y="786082"/>
                    <a:pt x="1080769" y="765240"/>
                    <a:pt x="1113521" y="744395"/>
                  </a:cubicBezTo>
                  <a:cubicBezTo>
                    <a:pt x="1146276" y="723554"/>
                    <a:pt x="1176052" y="702709"/>
                    <a:pt x="1211783" y="681867"/>
                  </a:cubicBezTo>
                  <a:cubicBezTo>
                    <a:pt x="1280266" y="649112"/>
                    <a:pt x="1348753" y="613381"/>
                    <a:pt x="1417236" y="586584"/>
                  </a:cubicBezTo>
                  <a:cubicBezTo>
                    <a:pt x="1444035" y="574674"/>
                    <a:pt x="1473811" y="559784"/>
                    <a:pt x="1497632" y="544898"/>
                  </a:cubicBezTo>
                  <a:cubicBezTo>
                    <a:pt x="1536340" y="527032"/>
                    <a:pt x="1581005" y="509167"/>
                    <a:pt x="1622691" y="488322"/>
                  </a:cubicBezTo>
                  <a:cubicBezTo>
                    <a:pt x="1682243" y="461525"/>
                    <a:pt x="1741795" y="440681"/>
                    <a:pt x="1801347" y="416860"/>
                  </a:cubicBezTo>
                  <a:cubicBezTo>
                    <a:pt x="1860899" y="393039"/>
                    <a:pt x="1923426" y="375174"/>
                    <a:pt x="1982978" y="354332"/>
                  </a:cubicBezTo>
                  <a:lnTo>
                    <a:pt x="2059277" y="339346"/>
                  </a:lnTo>
                  <a:lnTo>
                    <a:pt x="2096133" y="326751"/>
                  </a:lnTo>
                  <a:lnTo>
                    <a:pt x="2597795" y="218526"/>
                  </a:lnTo>
                  <a:lnTo>
                    <a:pt x="2587435" y="215503"/>
                  </a:lnTo>
                  <a:cubicBezTo>
                    <a:pt x="2575524" y="214387"/>
                    <a:pt x="2557659" y="215875"/>
                    <a:pt x="2524903" y="223318"/>
                  </a:cubicBezTo>
                  <a:cubicBezTo>
                    <a:pt x="2483217" y="229273"/>
                    <a:pt x="2435576" y="235228"/>
                    <a:pt x="2390910" y="241184"/>
                  </a:cubicBezTo>
                  <a:cubicBezTo>
                    <a:pt x="2349224" y="250118"/>
                    <a:pt x="2301582" y="262028"/>
                    <a:pt x="2259896" y="270959"/>
                  </a:cubicBezTo>
                  <a:cubicBezTo>
                    <a:pt x="2242030" y="276915"/>
                    <a:pt x="2224165" y="282870"/>
                    <a:pt x="2203324" y="288825"/>
                  </a:cubicBezTo>
                  <a:cubicBezTo>
                    <a:pt x="2182479" y="294780"/>
                    <a:pt x="2161637" y="300735"/>
                    <a:pt x="2137816" y="306691"/>
                  </a:cubicBezTo>
                  <a:close/>
                  <a:moveTo>
                    <a:pt x="2046992" y="272932"/>
                  </a:moveTo>
                  <a:lnTo>
                    <a:pt x="2096621" y="259634"/>
                  </a:lnTo>
                  <a:lnTo>
                    <a:pt x="2215233" y="244163"/>
                  </a:lnTo>
                  <a:cubicBezTo>
                    <a:pt x="2245010" y="232252"/>
                    <a:pt x="2277762" y="220342"/>
                    <a:pt x="2313493" y="208432"/>
                  </a:cubicBezTo>
                  <a:cubicBezTo>
                    <a:pt x="2349224" y="196521"/>
                    <a:pt x="2387934" y="184611"/>
                    <a:pt x="2426642" y="178656"/>
                  </a:cubicBezTo>
                  <a:cubicBezTo>
                    <a:pt x="2507038" y="163766"/>
                    <a:pt x="2590410" y="148880"/>
                    <a:pt x="2664849" y="145901"/>
                  </a:cubicBezTo>
                  <a:cubicBezTo>
                    <a:pt x="2779489" y="135478"/>
                    <a:pt x="2894125" y="129523"/>
                    <a:pt x="3008762" y="128407"/>
                  </a:cubicBezTo>
                  <a:lnTo>
                    <a:pt x="3285189" y="137682"/>
                  </a:lnTo>
                  <a:lnTo>
                    <a:pt x="3002806" y="127291"/>
                  </a:lnTo>
                  <a:cubicBezTo>
                    <a:pt x="2888170" y="128035"/>
                    <a:pt x="2773530" y="133990"/>
                    <a:pt x="2658894" y="145901"/>
                  </a:cubicBezTo>
                  <a:cubicBezTo>
                    <a:pt x="2581476" y="148877"/>
                    <a:pt x="2501080" y="163766"/>
                    <a:pt x="2420686" y="178653"/>
                  </a:cubicBezTo>
                  <a:cubicBezTo>
                    <a:pt x="2381976" y="184608"/>
                    <a:pt x="2343269" y="196518"/>
                    <a:pt x="2307538" y="208428"/>
                  </a:cubicBezTo>
                  <a:cubicBezTo>
                    <a:pt x="2271807" y="220339"/>
                    <a:pt x="2239051" y="232249"/>
                    <a:pt x="2209275" y="244160"/>
                  </a:cubicBezTo>
                  <a:lnTo>
                    <a:pt x="2102296" y="258113"/>
                  </a:lnTo>
                  <a:lnTo>
                    <a:pt x="3008390" y="15326"/>
                  </a:lnTo>
                  <a:lnTo>
                    <a:pt x="3013414" y="15352"/>
                  </a:lnTo>
                  <a:cubicBezTo>
                    <a:pt x="3045795" y="15072"/>
                    <a:pt x="3079478" y="14514"/>
                    <a:pt x="3113720" y="14143"/>
                  </a:cubicBezTo>
                  <a:cubicBezTo>
                    <a:pt x="3182206" y="13395"/>
                    <a:pt x="3252924" y="13395"/>
                    <a:pt x="3319919" y="17863"/>
                  </a:cubicBezTo>
                  <a:lnTo>
                    <a:pt x="3323758" y="20742"/>
                  </a:lnTo>
                  <a:lnTo>
                    <a:pt x="3424136" y="8931"/>
                  </a:lnTo>
                  <a:cubicBezTo>
                    <a:pt x="3456889" y="14887"/>
                    <a:pt x="3486665" y="17863"/>
                    <a:pt x="3516441" y="23818"/>
                  </a:cubicBezTo>
                  <a:cubicBezTo>
                    <a:pt x="3546216" y="29773"/>
                    <a:pt x="3575992" y="32752"/>
                    <a:pt x="3608747" y="41683"/>
                  </a:cubicBezTo>
                  <a:lnTo>
                    <a:pt x="3656370" y="52509"/>
                  </a:lnTo>
                  <a:lnTo>
                    <a:pt x="3605768" y="38707"/>
                  </a:lnTo>
                  <a:cubicBezTo>
                    <a:pt x="3575992" y="32752"/>
                    <a:pt x="3543237" y="26797"/>
                    <a:pt x="3513461" y="20842"/>
                  </a:cubicBezTo>
                  <a:cubicBezTo>
                    <a:pt x="3483685" y="14887"/>
                    <a:pt x="3453909" y="11910"/>
                    <a:pt x="3421157" y="5955"/>
                  </a:cubicBezTo>
                  <a:cubicBezTo>
                    <a:pt x="3421157" y="5955"/>
                    <a:pt x="3421158" y="2976"/>
                    <a:pt x="3421158" y="0"/>
                  </a:cubicBezTo>
                  <a:cubicBezTo>
                    <a:pt x="3465819" y="2976"/>
                    <a:pt x="3516441" y="5955"/>
                    <a:pt x="3561102" y="8931"/>
                  </a:cubicBezTo>
                  <a:cubicBezTo>
                    <a:pt x="3611724" y="11910"/>
                    <a:pt x="3659365" y="17866"/>
                    <a:pt x="3704027" y="23821"/>
                  </a:cubicBezTo>
                  <a:cubicBezTo>
                    <a:pt x="3751669" y="26797"/>
                    <a:pt x="3778469" y="35731"/>
                    <a:pt x="3799310" y="47642"/>
                  </a:cubicBezTo>
                  <a:cubicBezTo>
                    <a:pt x="3820155" y="59552"/>
                    <a:pt x="3835041" y="71462"/>
                    <a:pt x="3861841" y="77418"/>
                  </a:cubicBezTo>
                  <a:cubicBezTo>
                    <a:pt x="3903528" y="77418"/>
                    <a:pt x="3885662" y="53597"/>
                    <a:pt x="3939259" y="62528"/>
                  </a:cubicBezTo>
                  <a:cubicBezTo>
                    <a:pt x="3977966" y="68483"/>
                    <a:pt x="4016676" y="80394"/>
                    <a:pt x="4055383" y="89328"/>
                  </a:cubicBezTo>
                  <a:cubicBezTo>
                    <a:pt x="4079204" y="95283"/>
                    <a:pt x="4103025" y="104214"/>
                    <a:pt x="4126846" y="110169"/>
                  </a:cubicBezTo>
                  <a:cubicBezTo>
                    <a:pt x="4126846" y="110169"/>
                    <a:pt x="4126846" y="113149"/>
                    <a:pt x="4123870" y="113149"/>
                  </a:cubicBezTo>
                  <a:cubicBezTo>
                    <a:pt x="4126846" y="122080"/>
                    <a:pt x="4123870" y="128035"/>
                    <a:pt x="4120890" y="133990"/>
                  </a:cubicBezTo>
                  <a:cubicBezTo>
                    <a:pt x="4079204" y="131014"/>
                    <a:pt x="4040497" y="128035"/>
                    <a:pt x="3998811" y="125059"/>
                  </a:cubicBezTo>
                  <a:cubicBezTo>
                    <a:pt x="3983921" y="122080"/>
                    <a:pt x="3972011" y="119104"/>
                    <a:pt x="3957124" y="113149"/>
                  </a:cubicBezTo>
                  <a:cubicBezTo>
                    <a:pt x="3942235" y="110169"/>
                    <a:pt x="3930324" y="107194"/>
                    <a:pt x="3915438" y="104214"/>
                  </a:cubicBezTo>
                  <a:cubicBezTo>
                    <a:pt x="3888638" y="98259"/>
                    <a:pt x="3861841" y="92304"/>
                    <a:pt x="3835041" y="86349"/>
                  </a:cubicBezTo>
                  <a:cubicBezTo>
                    <a:pt x="3808245" y="80394"/>
                    <a:pt x="3781445" y="74438"/>
                    <a:pt x="3754648" y="68483"/>
                  </a:cubicBezTo>
                  <a:cubicBezTo>
                    <a:pt x="3727848" y="65507"/>
                    <a:pt x="3701051" y="59552"/>
                    <a:pt x="3671275" y="56573"/>
                  </a:cubicBezTo>
                  <a:lnTo>
                    <a:pt x="3578972" y="56573"/>
                  </a:lnTo>
                  <a:cubicBezTo>
                    <a:pt x="3552171" y="56573"/>
                    <a:pt x="3525375" y="56573"/>
                    <a:pt x="3504530" y="56573"/>
                  </a:cubicBezTo>
                  <a:cubicBezTo>
                    <a:pt x="3459867" y="56573"/>
                    <a:pt x="3424136" y="56573"/>
                    <a:pt x="3388405" y="56573"/>
                  </a:cubicBezTo>
                  <a:lnTo>
                    <a:pt x="3382950" y="54832"/>
                  </a:lnTo>
                  <a:lnTo>
                    <a:pt x="3331829" y="80394"/>
                  </a:lnTo>
                  <a:cubicBezTo>
                    <a:pt x="3305030" y="89325"/>
                    <a:pt x="3382447" y="95280"/>
                    <a:pt x="3349695" y="110170"/>
                  </a:cubicBezTo>
                  <a:cubicBezTo>
                    <a:pt x="3412223" y="122080"/>
                    <a:pt x="3474754" y="133990"/>
                    <a:pt x="3528350" y="145901"/>
                  </a:cubicBezTo>
                  <a:lnTo>
                    <a:pt x="3448848" y="147289"/>
                  </a:lnTo>
                  <a:lnTo>
                    <a:pt x="3450189" y="147392"/>
                  </a:lnTo>
                  <a:cubicBezTo>
                    <a:pt x="3482201" y="149624"/>
                    <a:pt x="3511976" y="150368"/>
                    <a:pt x="3534306" y="145901"/>
                  </a:cubicBezTo>
                  <a:cubicBezTo>
                    <a:pt x="3558127" y="148880"/>
                    <a:pt x="3581948" y="151856"/>
                    <a:pt x="3605768" y="154835"/>
                  </a:cubicBezTo>
                  <a:cubicBezTo>
                    <a:pt x="3671275" y="169721"/>
                    <a:pt x="3712962" y="175677"/>
                    <a:pt x="3742737" y="181632"/>
                  </a:cubicBezTo>
                  <a:cubicBezTo>
                    <a:pt x="3772514" y="187587"/>
                    <a:pt x="3790379" y="187587"/>
                    <a:pt x="3808245" y="190566"/>
                  </a:cubicBezTo>
                  <a:cubicBezTo>
                    <a:pt x="3843975" y="199497"/>
                    <a:pt x="3882686" y="208432"/>
                    <a:pt x="3918417" y="214387"/>
                  </a:cubicBezTo>
                  <a:cubicBezTo>
                    <a:pt x="3957124" y="220342"/>
                    <a:pt x="3992855" y="232252"/>
                    <a:pt x="4031566" y="238208"/>
                  </a:cubicBezTo>
                  <a:cubicBezTo>
                    <a:pt x="4067297" y="247139"/>
                    <a:pt x="4106004" y="256073"/>
                    <a:pt x="4141735" y="265004"/>
                  </a:cubicBezTo>
                  <a:lnTo>
                    <a:pt x="4251908" y="297759"/>
                  </a:lnTo>
                  <a:lnTo>
                    <a:pt x="4305504" y="312646"/>
                  </a:lnTo>
                  <a:lnTo>
                    <a:pt x="4359101" y="330511"/>
                  </a:lnTo>
                  <a:lnTo>
                    <a:pt x="4359792" y="331143"/>
                  </a:lnTo>
                  <a:lnTo>
                    <a:pt x="4398227" y="337770"/>
                  </a:lnTo>
                  <a:cubicBezTo>
                    <a:pt x="4431445" y="345585"/>
                    <a:pt x="4470805" y="358612"/>
                    <a:pt x="4491368" y="372382"/>
                  </a:cubicBezTo>
                  <a:lnTo>
                    <a:pt x="4504379" y="392095"/>
                  </a:lnTo>
                  <a:lnTo>
                    <a:pt x="4507980" y="393042"/>
                  </a:lnTo>
                  <a:cubicBezTo>
                    <a:pt x="4534777" y="404953"/>
                    <a:pt x="4564553" y="416863"/>
                    <a:pt x="4591353" y="425794"/>
                  </a:cubicBezTo>
                  <a:cubicBezTo>
                    <a:pt x="4615174" y="434729"/>
                    <a:pt x="4638995" y="443660"/>
                    <a:pt x="4662816" y="455570"/>
                  </a:cubicBezTo>
                  <a:cubicBezTo>
                    <a:pt x="4686636" y="467481"/>
                    <a:pt x="4710457" y="476415"/>
                    <a:pt x="4734278" y="488325"/>
                  </a:cubicBezTo>
                  <a:cubicBezTo>
                    <a:pt x="4746188" y="497257"/>
                    <a:pt x="4764054" y="506191"/>
                    <a:pt x="4787874" y="518101"/>
                  </a:cubicBezTo>
                  <a:cubicBezTo>
                    <a:pt x="4799785" y="524056"/>
                    <a:pt x="4811695" y="530012"/>
                    <a:pt x="4823606" y="535967"/>
                  </a:cubicBezTo>
                  <a:cubicBezTo>
                    <a:pt x="4835516" y="541922"/>
                    <a:pt x="4850402" y="547877"/>
                    <a:pt x="4862313" y="556808"/>
                  </a:cubicBezTo>
                  <a:cubicBezTo>
                    <a:pt x="4915909" y="583608"/>
                    <a:pt x="4969506" y="610405"/>
                    <a:pt x="4993327" y="631250"/>
                  </a:cubicBezTo>
                  <a:cubicBezTo>
                    <a:pt x="5046923" y="666981"/>
                    <a:pt x="5103499" y="699733"/>
                    <a:pt x="5160072" y="738443"/>
                  </a:cubicBezTo>
                  <a:cubicBezTo>
                    <a:pt x="5186872" y="756309"/>
                    <a:pt x="5216647" y="777150"/>
                    <a:pt x="5246424" y="797995"/>
                  </a:cubicBezTo>
                  <a:lnTo>
                    <a:pt x="5248924" y="799780"/>
                  </a:lnTo>
                  <a:lnTo>
                    <a:pt x="5293052" y="826589"/>
                  </a:lnTo>
                  <a:cubicBezTo>
                    <a:pt x="6306872" y="1511511"/>
                    <a:pt x="6973427" y="2671412"/>
                    <a:pt x="6973427" y="3986995"/>
                  </a:cubicBezTo>
                  <a:lnTo>
                    <a:pt x="6972171" y="4011914"/>
                  </a:lnTo>
                  <a:lnTo>
                    <a:pt x="7006179" y="4016772"/>
                  </a:lnTo>
                  <a:cubicBezTo>
                    <a:pt x="7018090" y="4025703"/>
                    <a:pt x="7027021" y="4031658"/>
                    <a:pt x="7038932" y="4040592"/>
                  </a:cubicBezTo>
                  <a:cubicBezTo>
                    <a:pt x="7041911" y="4073344"/>
                    <a:pt x="7047866" y="4082278"/>
                    <a:pt x="7053821" y="4120986"/>
                  </a:cubicBezTo>
                  <a:cubicBezTo>
                    <a:pt x="7071687" y="4156717"/>
                    <a:pt x="7092528" y="4186493"/>
                    <a:pt x="7110394" y="4216268"/>
                  </a:cubicBezTo>
                  <a:lnTo>
                    <a:pt x="7134218" y="4218435"/>
                  </a:lnTo>
                  <a:lnTo>
                    <a:pt x="7134218" y="4195427"/>
                  </a:lnTo>
                  <a:lnTo>
                    <a:pt x="7158423" y="4128188"/>
                  </a:lnTo>
                  <a:lnTo>
                    <a:pt x="7158035" y="4115034"/>
                  </a:lnTo>
                  <a:cubicBezTo>
                    <a:pt x="7166970" y="4025706"/>
                    <a:pt x="7172925" y="4028682"/>
                    <a:pt x="7181856" y="4034637"/>
                  </a:cubicBezTo>
                  <a:cubicBezTo>
                    <a:pt x="7193766" y="4031661"/>
                    <a:pt x="7205677" y="4031661"/>
                    <a:pt x="7214611" y="4034637"/>
                  </a:cubicBezTo>
                  <a:cubicBezTo>
                    <a:pt x="7232477" y="4022727"/>
                    <a:pt x="7247363" y="4007840"/>
                    <a:pt x="7265228" y="4001885"/>
                  </a:cubicBezTo>
                  <a:cubicBezTo>
                    <a:pt x="7268208" y="4046548"/>
                    <a:pt x="7268208" y="4085258"/>
                    <a:pt x="7271184" y="4132899"/>
                  </a:cubicBezTo>
                  <a:cubicBezTo>
                    <a:pt x="7265229" y="4153741"/>
                    <a:pt x="7262253" y="4174585"/>
                    <a:pt x="7256297" y="4195427"/>
                  </a:cubicBezTo>
                  <a:cubicBezTo>
                    <a:pt x="7250343" y="4216272"/>
                    <a:pt x="7244387" y="4237113"/>
                    <a:pt x="7238432" y="4254979"/>
                  </a:cubicBezTo>
                  <a:cubicBezTo>
                    <a:pt x="7235453" y="4287734"/>
                    <a:pt x="7232476" y="4320486"/>
                    <a:pt x="7229498" y="4353241"/>
                  </a:cubicBezTo>
                  <a:lnTo>
                    <a:pt x="7226521" y="4403859"/>
                  </a:lnTo>
                  <a:cubicBezTo>
                    <a:pt x="7223542" y="4421724"/>
                    <a:pt x="7223543" y="4436614"/>
                    <a:pt x="7220567" y="4454479"/>
                  </a:cubicBezTo>
                  <a:lnTo>
                    <a:pt x="7207871" y="4462944"/>
                  </a:lnTo>
                  <a:lnTo>
                    <a:pt x="7208656" y="4466386"/>
                  </a:lnTo>
                  <a:lnTo>
                    <a:pt x="7220819" y="4458278"/>
                  </a:lnTo>
                  <a:lnTo>
                    <a:pt x="7226521" y="4409814"/>
                  </a:lnTo>
                  <a:lnTo>
                    <a:pt x="7229497" y="4359196"/>
                  </a:lnTo>
                  <a:cubicBezTo>
                    <a:pt x="7232477" y="4326441"/>
                    <a:pt x="7235452" y="4293689"/>
                    <a:pt x="7238432" y="4260934"/>
                  </a:cubicBezTo>
                  <a:cubicBezTo>
                    <a:pt x="7244387" y="4243068"/>
                    <a:pt x="7250342" y="4222227"/>
                    <a:pt x="7256297" y="4201383"/>
                  </a:cubicBezTo>
                  <a:cubicBezTo>
                    <a:pt x="7262253" y="4180541"/>
                    <a:pt x="7268208" y="4159696"/>
                    <a:pt x="7271184" y="4138855"/>
                  </a:cubicBezTo>
                  <a:cubicBezTo>
                    <a:pt x="7280118" y="4144809"/>
                    <a:pt x="7286074" y="4150765"/>
                    <a:pt x="7295004" y="4156720"/>
                  </a:cubicBezTo>
                  <a:cubicBezTo>
                    <a:pt x="7295005" y="4171606"/>
                    <a:pt x="7295004" y="4186496"/>
                    <a:pt x="7292028" y="4201382"/>
                  </a:cubicBezTo>
                  <a:cubicBezTo>
                    <a:pt x="7289050" y="4216272"/>
                    <a:pt x="7289049" y="4231158"/>
                    <a:pt x="7286074" y="4246047"/>
                  </a:cubicBezTo>
                  <a:cubicBezTo>
                    <a:pt x="7283094" y="4275823"/>
                    <a:pt x="7280118" y="4302621"/>
                    <a:pt x="7283094" y="4329421"/>
                  </a:cubicBezTo>
                  <a:cubicBezTo>
                    <a:pt x="7280118" y="4359196"/>
                    <a:pt x="7280118" y="4391948"/>
                    <a:pt x="7277139" y="4427679"/>
                  </a:cubicBezTo>
                  <a:cubicBezTo>
                    <a:pt x="7271184" y="4460434"/>
                    <a:pt x="7268208" y="4496165"/>
                    <a:pt x="7262253" y="4531896"/>
                  </a:cubicBezTo>
                  <a:cubicBezTo>
                    <a:pt x="7256298" y="4567628"/>
                    <a:pt x="7253319" y="4603359"/>
                    <a:pt x="7244387" y="4642066"/>
                  </a:cubicBezTo>
                  <a:cubicBezTo>
                    <a:pt x="7238432" y="4677797"/>
                    <a:pt x="7229497" y="4713529"/>
                    <a:pt x="7223542" y="4749259"/>
                  </a:cubicBezTo>
                  <a:cubicBezTo>
                    <a:pt x="7202701" y="4829656"/>
                    <a:pt x="7208656" y="4856453"/>
                    <a:pt x="7184835" y="4975556"/>
                  </a:cubicBezTo>
                  <a:cubicBezTo>
                    <a:pt x="7172925" y="4981511"/>
                    <a:pt x="7161014" y="4987467"/>
                    <a:pt x="7149104" y="4996401"/>
                  </a:cubicBezTo>
                  <a:cubicBezTo>
                    <a:pt x="7137194" y="5038088"/>
                    <a:pt x="7119328" y="5085729"/>
                    <a:pt x="7104438" y="5127416"/>
                  </a:cubicBezTo>
                  <a:cubicBezTo>
                    <a:pt x="7083597" y="5195899"/>
                    <a:pt x="7098484" y="5204833"/>
                    <a:pt x="7092529" y="5252474"/>
                  </a:cubicBezTo>
                  <a:cubicBezTo>
                    <a:pt x="7089552" y="5258430"/>
                    <a:pt x="7086573" y="5267360"/>
                    <a:pt x="7086573" y="5270339"/>
                  </a:cubicBezTo>
                  <a:cubicBezTo>
                    <a:pt x="7068707" y="5317981"/>
                    <a:pt x="7050842" y="5365622"/>
                    <a:pt x="7035956" y="5407309"/>
                  </a:cubicBezTo>
                  <a:cubicBezTo>
                    <a:pt x="7030001" y="5413264"/>
                    <a:pt x="7027021" y="5416240"/>
                    <a:pt x="7021066" y="5419219"/>
                  </a:cubicBezTo>
                  <a:cubicBezTo>
                    <a:pt x="7000224" y="5466861"/>
                    <a:pt x="6979379" y="5517479"/>
                    <a:pt x="6958538" y="5565120"/>
                  </a:cubicBezTo>
                  <a:cubicBezTo>
                    <a:pt x="6982359" y="5517479"/>
                    <a:pt x="7003201" y="5466861"/>
                    <a:pt x="7024045" y="5419219"/>
                  </a:cubicBezTo>
                  <a:cubicBezTo>
                    <a:pt x="7030001" y="5413264"/>
                    <a:pt x="7032976" y="5413264"/>
                    <a:pt x="7038932" y="5407309"/>
                  </a:cubicBezTo>
                  <a:cubicBezTo>
                    <a:pt x="7015111" y="5535344"/>
                    <a:pt x="6976404" y="5615741"/>
                    <a:pt x="6943648" y="5678268"/>
                  </a:cubicBezTo>
                  <a:cubicBezTo>
                    <a:pt x="6925783" y="5690179"/>
                    <a:pt x="6907917" y="5699113"/>
                    <a:pt x="6893031" y="5705068"/>
                  </a:cubicBezTo>
                  <a:lnTo>
                    <a:pt x="6882533" y="5726066"/>
                  </a:lnTo>
                  <a:lnTo>
                    <a:pt x="6884100" y="5728886"/>
                  </a:lnTo>
                  <a:cubicBezTo>
                    <a:pt x="6887076" y="5722931"/>
                    <a:pt x="6890055" y="5713999"/>
                    <a:pt x="6896010" y="5705065"/>
                  </a:cubicBezTo>
                  <a:cubicBezTo>
                    <a:pt x="6910896" y="5699110"/>
                    <a:pt x="6928762" y="5690179"/>
                    <a:pt x="6946628" y="5678269"/>
                  </a:cubicBezTo>
                  <a:cubicBezTo>
                    <a:pt x="6949607" y="5711021"/>
                    <a:pt x="6925786" y="5752706"/>
                    <a:pt x="6910897" y="5779506"/>
                  </a:cubicBezTo>
                  <a:cubicBezTo>
                    <a:pt x="6890055" y="5821193"/>
                    <a:pt x="6866235" y="5859900"/>
                    <a:pt x="6845389" y="5898611"/>
                  </a:cubicBezTo>
                  <a:cubicBezTo>
                    <a:pt x="6833479" y="5919452"/>
                    <a:pt x="6824548" y="5937318"/>
                    <a:pt x="6812638" y="5958162"/>
                  </a:cubicBezTo>
                  <a:cubicBezTo>
                    <a:pt x="6800727" y="5979004"/>
                    <a:pt x="6788817" y="5996869"/>
                    <a:pt x="6776907" y="6017714"/>
                  </a:cubicBezTo>
                  <a:cubicBezTo>
                    <a:pt x="6767972" y="6029624"/>
                    <a:pt x="6762017" y="6044511"/>
                    <a:pt x="6750106" y="6062376"/>
                  </a:cubicBezTo>
                  <a:lnTo>
                    <a:pt x="6724490" y="6119524"/>
                  </a:lnTo>
                  <a:lnTo>
                    <a:pt x="6444201" y="6194627"/>
                  </a:lnTo>
                  <a:lnTo>
                    <a:pt x="6494406" y="6117091"/>
                  </a:lnTo>
                  <a:cubicBezTo>
                    <a:pt x="6513388" y="6085454"/>
                    <a:pt x="6529765" y="6054935"/>
                    <a:pt x="6541675" y="6026649"/>
                  </a:cubicBezTo>
                  <a:cubicBezTo>
                    <a:pt x="6571451" y="5976028"/>
                    <a:pt x="6607182" y="5940297"/>
                    <a:pt x="6628027" y="5886700"/>
                  </a:cubicBezTo>
                  <a:cubicBezTo>
                    <a:pt x="6654823" y="5842038"/>
                    <a:pt x="6681623" y="5788441"/>
                    <a:pt x="6708421" y="5743775"/>
                  </a:cubicBezTo>
                  <a:cubicBezTo>
                    <a:pt x="6720331" y="5725910"/>
                    <a:pt x="6729265" y="5708045"/>
                    <a:pt x="6738196" y="5690179"/>
                  </a:cubicBezTo>
                  <a:cubicBezTo>
                    <a:pt x="6747130" y="5672313"/>
                    <a:pt x="6753086" y="5654447"/>
                    <a:pt x="6762017" y="5639562"/>
                  </a:cubicBezTo>
                  <a:cubicBezTo>
                    <a:pt x="6776906" y="5606806"/>
                    <a:pt x="6788817" y="5574054"/>
                    <a:pt x="6800727" y="5544279"/>
                  </a:cubicBezTo>
                  <a:cubicBezTo>
                    <a:pt x="6824548" y="5481748"/>
                    <a:pt x="6845390" y="5422196"/>
                    <a:pt x="6884100" y="5362643"/>
                  </a:cubicBezTo>
                  <a:cubicBezTo>
                    <a:pt x="6910897" y="5315002"/>
                    <a:pt x="6904941" y="5279271"/>
                    <a:pt x="6916852" y="5240564"/>
                  </a:cubicBezTo>
                  <a:cubicBezTo>
                    <a:pt x="6949607" y="5160167"/>
                    <a:pt x="6970448" y="5079774"/>
                    <a:pt x="6997248" y="4996401"/>
                  </a:cubicBezTo>
                  <a:cubicBezTo>
                    <a:pt x="6985338" y="4972581"/>
                    <a:pt x="7027024" y="4877298"/>
                    <a:pt x="7032979" y="4805835"/>
                  </a:cubicBezTo>
                  <a:cubicBezTo>
                    <a:pt x="7050845" y="4731394"/>
                    <a:pt x="7065731" y="4653977"/>
                    <a:pt x="7080621" y="4576559"/>
                  </a:cubicBezTo>
                  <a:lnTo>
                    <a:pt x="7091362" y="4536286"/>
                  </a:lnTo>
                  <a:lnTo>
                    <a:pt x="7083597" y="4534872"/>
                  </a:lnTo>
                  <a:cubicBezTo>
                    <a:pt x="7086573" y="4511052"/>
                    <a:pt x="7086573" y="4490211"/>
                    <a:pt x="7086573" y="4460435"/>
                  </a:cubicBezTo>
                  <a:lnTo>
                    <a:pt x="7088158" y="4454885"/>
                  </a:lnTo>
                  <a:lnTo>
                    <a:pt x="7086079" y="4455001"/>
                  </a:lnTo>
                  <a:lnTo>
                    <a:pt x="7082312" y="4455210"/>
                  </a:lnTo>
                  <a:lnTo>
                    <a:pt x="7083597" y="4469366"/>
                  </a:lnTo>
                  <a:cubicBezTo>
                    <a:pt x="7083597" y="4496165"/>
                    <a:pt x="7083597" y="4517007"/>
                    <a:pt x="7080621" y="4543807"/>
                  </a:cubicBezTo>
                  <a:cubicBezTo>
                    <a:pt x="7077642" y="4558694"/>
                    <a:pt x="7074666" y="4570604"/>
                    <a:pt x="7068710" y="4588469"/>
                  </a:cubicBezTo>
                  <a:cubicBezTo>
                    <a:pt x="7044890" y="4627180"/>
                    <a:pt x="7021069" y="4665887"/>
                    <a:pt x="6997249" y="4701618"/>
                  </a:cubicBezTo>
                  <a:cubicBezTo>
                    <a:pt x="6991293" y="4737349"/>
                    <a:pt x="6988314" y="4767125"/>
                    <a:pt x="6979383" y="4799880"/>
                  </a:cubicBezTo>
                  <a:lnTo>
                    <a:pt x="6961517" y="4832632"/>
                  </a:lnTo>
                  <a:cubicBezTo>
                    <a:pt x="6952583" y="4880273"/>
                    <a:pt x="6943651" y="4924939"/>
                    <a:pt x="6931741" y="4975556"/>
                  </a:cubicBezTo>
                  <a:cubicBezTo>
                    <a:pt x="6919831" y="5014267"/>
                    <a:pt x="6910896" y="5049998"/>
                    <a:pt x="6898986" y="5088705"/>
                  </a:cubicBezTo>
                  <a:cubicBezTo>
                    <a:pt x="6887076" y="5127416"/>
                    <a:pt x="6878145" y="5163147"/>
                    <a:pt x="6863255" y="5198877"/>
                  </a:cubicBezTo>
                  <a:cubicBezTo>
                    <a:pt x="6857300" y="5228653"/>
                    <a:pt x="6851345" y="5255450"/>
                    <a:pt x="6842413" y="5285226"/>
                  </a:cubicBezTo>
                  <a:cubicBezTo>
                    <a:pt x="6836459" y="5315002"/>
                    <a:pt x="6830503" y="5344778"/>
                    <a:pt x="6818593" y="5374554"/>
                  </a:cubicBezTo>
                  <a:lnTo>
                    <a:pt x="6837590" y="5345006"/>
                  </a:lnTo>
                  <a:lnTo>
                    <a:pt x="6854324" y="5282247"/>
                  </a:lnTo>
                  <a:cubicBezTo>
                    <a:pt x="6857300" y="5249495"/>
                    <a:pt x="6863255" y="5222695"/>
                    <a:pt x="6869211" y="5192919"/>
                  </a:cubicBezTo>
                  <a:cubicBezTo>
                    <a:pt x="6881121" y="5157188"/>
                    <a:pt x="6893031" y="5118481"/>
                    <a:pt x="6904941" y="5082750"/>
                  </a:cubicBezTo>
                  <a:cubicBezTo>
                    <a:pt x="6916852" y="5044039"/>
                    <a:pt x="6925786" y="5008309"/>
                    <a:pt x="6937697" y="4969602"/>
                  </a:cubicBezTo>
                  <a:cubicBezTo>
                    <a:pt x="6949607" y="4921960"/>
                    <a:pt x="6955562" y="4877294"/>
                    <a:pt x="6967473" y="4826677"/>
                  </a:cubicBezTo>
                  <a:lnTo>
                    <a:pt x="6985338" y="4793921"/>
                  </a:lnTo>
                  <a:cubicBezTo>
                    <a:pt x="6994270" y="4761170"/>
                    <a:pt x="6997249" y="4731394"/>
                    <a:pt x="7003203" y="4695662"/>
                  </a:cubicBezTo>
                  <a:cubicBezTo>
                    <a:pt x="7027024" y="4656953"/>
                    <a:pt x="7050845" y="4621221"/>
                    <a:pt x="7074666" y="4582514"/>
                  </a:cubicBezTo>
                  <a:cubicBezTo>
                    <a:pt x="7059776" y="4659932"/>
                    <a:pt x="7044890" y="4734370"/>
                    <a:pt x="7027025" y="4811787"/>
                  </a:cubicBezTo>
                  <a:cubicBezTo>
                    <a:pt x="7021069" y="4883249"/>
                    <a:pt x="6979383" y="4981512"/>
                    <a:pt x="6991293" y="5002353"/>
                  </a:cubicBezTo>
                  <a:cubicBezTo>
                    <a:pt x="6964493" y="5085726"/>
                    <a:pt x="6940672" y="5166123"/>
                    <a:pt x="6910897" y="5246516"/>
                  </a:cubicBezTo>
                  <a:lnTo>
                    <a:pt x="6894994" y="5271255"/>
                  </a:lnTo>
                  <a:lnTo>
                    <a:pt x="6888195" y="5308303"/>
                  </a:lnTo>
                  <a:cubicBezTo>
                    <a:pt x="6884844" y="5327659"/>
                    <a:pt x="6879632" y="5347757"/>
                    <a:pt x="6866235" y="5371578"/>
                  </a:cubicBezTo>
                  <a:cubicBezTo>
                    <a:pt x="6824548" y="5431130"/>
                    <a:pt x="6803704" y="5490681"/>
                    <a:pt x="6782861" y="5553209"/>
                  </a:cubicBezTo>
                  <a:cubicBezTo>
                    <a:pt x="6770951" y="5582986"/>
                    <a:pt x="6759041" y="5615741"/>
                    <a:pt x="6744152" y="5648492"/>
                  </a:cubicBezTo>
                  <a:cubicBezTo>
                    <a:pt x="6738196" y="5666358"/>
                    <a:pt x="6729265" y="5681247"/>
                    <a:pt x="6720330" y="5699113"/>
                  </a:cubicBezTo>
                  <a:cubicBezTo>
                    <a:pt x="6711399" y="5716978"/>
                    <a:pt x="6702465" y="5734844"/>
                    <a:pt x="6690554" y="5752710"/>
                  </a:cubicBezTo>
                  <a:cubicBezTo>
                    <a:pt x="6663758" y="5800352"/>
                    <a:pt x="6636958" y="5850969"/>
                    <a:pt x="6610162" y="5895635"/>
                  </a:cubicBezTo>
                  <a:cubicBezTo>
                    <a:pt x="6589317" y="5949231"/>
                    <a:pt x="6553585" y="5984962"/>
                    <a:pt x="6523810" y="6035579"/>
                  </a:cubicBezTo>
                  <a:cubicBezTo>
                    <a:pt x="6511899" y="6063867"/>
                    <a:pt x="6495523" y="6095132"/>
                    <a:pt x="6476540" y="6127141"/>
                  </a:cubicBezTo>
                  <a:lnTo>
                    <a:pt x="6429810" y="6198484"/>
                  </a:lnTo>
                  <a:lnTo>
                    <a:pt x="6336174" y="6223573"/>
                  </a:lnTo>
                  <a:lnTo>
                    <a:pt x="6354089" y="6196370"/>
                  </a:lnTo>
                  <a:cubicBezTo>
                    <a:pt x="6386840" y="6157663"/>
                    <a:pt x="6416616" y="6115976"/>
                    <a:pt x="6446392" y="6074290"/>
                  </a:cubicBezTo>
                  <a:cubicBezTo>
                    <a:pt x="6458302" y="6053445"/>
                    <a:pt x="6473192" y="6032604"/>
                    <a:pt x="6485103" y="6008783"/>
                  </a:cubicBezTo>
                  <a:cubicBezTo>
                    <a:pt x="6497013" y="5984962"/>
                    <a:pt x="6511899" y="5961142"/>
                    <a:pt x="6523809" y="5937321"/>
                  </a:cubicBezTo>
                  <a:lnTo>
                    <a:pt x="6534834" y="5919741"/>
                  </a:lnTo>
                  <a:lnTo>
                    <a:pt x="6593762" y="5834622"/>
                  </a:lnTo>
                  <a:lnTo>
                    <a:pt x="6604206" y="5821193"/>
                  </a:lnTo>
                  <a:lnTo>
                    <a:pt x="6605697" y="5817382"/>
                  </a:lnTo>
                  <a:lnTo>
                    <a:pt x="6593762" y="5834622"/>
                  </a:lnTo>
                  <a:lnTo>
                    <a:pt x="6565125" y="5871441"/>
                  </a:lnTo>
                  <a:lnTo>
                    <a:pt x="6534834" y="5919741"/>
                  </a:lnTo>
                  <a:lnTo>
                    <a:pt x="6526789" y="5931363"/>
                  </a:lnTo>
                  <a:cubicBezTo>
                    <a:pt x="6511899" y="5955183"/>
                    <a:pt x="6499989" y="5979004"/>
                    <a:pt x="6488078" y="6002825"/>
                  </a:cubicBezTo>
                  <a:cubicBezTo>
                    <a:pt x="6473192" y="6026646"/>
                    <a:pt x="6461282" y="6047490"/>
                    <a:pt x="6449371" y="6068331"/>
                  </a:cubicBezTo>
                  <a:cubicBezTo>
                    <a:pt x="6419596" y="6110018"/>
                    <a:pt x="6389820" y="6151704"/>
                    <a:pt x="6357065" y="6190414"/>
                  </a:cubicBezTo>
                  <a:lnTo>
                    <a:pt x="6335765" y="6223683"/>
                  </a:lnTo>
                  <a:lnTo>
                    <a:pt x="6265251" y="6242577"/>
                  </a:lnTo>
                  <a:lnTo>
                    <a:pt x="6265470" y="6242204"/>
                  </a:lnTo>
                  <a:lnTo>
                    <a:pt x="6267736" y="6235077"/>
                  </a:lnTo>
                  <a:cubicBezTo>
                    <a:pt x="6291557" y="6199345"/>
                    <a:pt x="6321333" y="6157659"/>
                    <a:pt x="6345154" y="6115973"/>
                  </a:cubicBezTo>
                  <a:cubicBezTo>
                    <a:pt x="6354089" y="6104062"/>
                    <a:pt x="6360044" y="6092153"/>
                    <a:pt x="6368975" y="6080242"/>
                  </a:cubicBezTo>
                  <a:lnTo>
                    <a:pt x="6400648" y="6036311"/>
                  </a:lnTo>
                  <a:lnTo>
                    <a:pt x="6410661" y="6017714"/>
                  </a:lnTo>
                  <a:cubicBezTo>
                    <a:pt x="6437457" y="5979004"/>
                    <a:pt x="6458302" y="5940297"/>
                    <a:pt x="6473189" y="5910521"/>
                  </a:cubicBezTo>
                  <a:cubicBezTo>
                    <a:pt x="6520831" y="5827148"/>
                    <a:pt x="6556562" y="5743775"/>
                    <a:pt x="6595272" y="5657424"/>
                  </a:cubicBezTo>
                  <a:cubicBezTo>
                    <a:pt x="6631003" y="5571075"/>
                    <a:pt x="6669710" y="5484723"/>
                    <a:pt x="6714376" y="5386465"/>
                  </a:cubicBezTo>
                  <a:cubicBezTo>
                    <a:pt x="6718842" y="5359667"/>
                    <a:pt x="6736708" y="5314258"/>
                    <a:pt x="6749362" y="5276292"/>
                  </a:cubicBezTo>
                  <a:lnTo>
                    <a:pt x="6760782" y="5233196"/>
                  </a:lnTo>
                  <a:lnTo>
                    <a:pt x="6673915" y="5470534"/>
                  </a:lnTo>
                  <a:cubicBezTo>
                    <a:pt x="6619674" y="5598779"/>
                    <a:pt x="6558609" y="5723434"/>
                    <a:pt x="6491183" y="5844051"/>
                  </a:cubicBezTo>
                  <a:lnTo>
                    <a:pt x="6464429" y="5886350"/>
                  </a:lnTo>
                  <a:lnTo>
                    <a:pt x="6464258" y="5886700"/>
                  </a:lnTo>
                  <a:cubicBezTo>
                    <a:pt x="6452347" y="5916476"/>
                    <a:pt x="6428527" y="5955186"/>
                    <a:pt x="6401726" y="5993893"/>
                  </a:cubicBezTo>
                  <a:cubicBezTo>
                    <a:pt x="6374930" y="6032604"/>
                    <a:pt x="6351109" y="6074290"/>
                    <a:pt x="6339199" y="6110021"/>
                  </a:cubicBezTo>
                  <a:cubicBezTo>
                    <a:pt x="6318354" y="6136818"/>
                    <a:pt x="6291557" y="6166593"/>
                    <a:pt x="6267736" y="6199349"/>
                  </a:cubicBezTo>
                  <a:cubicBezTo>
                    <a:pt x="6255826" y="6215725"/>
                    <a:pt x="6244660" y="6232846"/>
                    <a:pt x="6234610" y="6249967"/>
                  </a:cubicBezTo>
                  <a:lnTo>
                    <a:pt x="6234112" y="6250921"/>
                  </a:lnTo>
                  <a:lnTo>
                    <a:pt x="1630942" y="7484336"/>
                  </a:lnTo>
                  <a:lnTo>
                    <a:pt x="75670" y="1679985"/>
                  </a:lnTo>
                  <a:lnTo>
                    <a:pt x="151760" y="1595990"/>
                  </a:lnTo>
                  <a:cubicBezTo>
                    <a:pt x="169626" y="1575145"/>
                    <a:pt x="184512" y="1554304"/>
                    <a:pt x="202378" y="1533459"/>
                  </a:cubicBezTo>
                  <a:cubicBezTo>
                    <a:pt x="220243" y="1512617"/>
                    <a:pt x="238109" y="1494752"/>
                    <a:pt x="252998" y="1473907"/>
                  </a:cubicBezTo>
                  <a:cubicBezTo>
                    <a:pt x="312550" y="1396490"/>
                    <a:pt x="375078" y="1330983"/>
                    <a:pt x="434630" y="1259520"/>
                  </a:cubicBezTo>
                  <a:lnTo>
                    <a:pt x="438539" y="1253836"/>
                  </a:lnTo>
                  <a:lnTo>
                    <a:pt x="441521" y="1250083"/>
                  </a:lnTo>
                  <a:lnTo>
                    <a:pt x="443846" y="1246116"/>
                  </a:lnTo>
                  <a:lnTo>
                    <a:pt x="453049" y="1232733"/>
                  </a:lnTo>
                  <a:lnTo>
                    <a:pt x="483515" y="1198305"/>
                  </a:lnTo>
                  <a:lnTo>
                    <a:pt x="485826" y="1195883"/>
                  </a:lnTo>
                  <a:lnTo>
                    <a:pt x="485254" y="1196339"/>
                  </a:lnTo>
                  <a:lnTo>
                    <a:pt x="483515" y="1198305"/>
                  </a:lnTo>
                  <a:lnTo>
                    <a:pt x="459198" y="1223789"/>
                  </a:lnTo>
                  <a:lnTo>
                    <a:pt x="453049" y="1232733"/>
                  </a:lnTo>
                  <a:lnTo>
                    <a:pt x="449032" y="1237272"/>
                  </a:lnTo>
                  <a:lnTo>
                    <a:pt x="443846" y="1246116"/>
                  </a:lnTo>
                  <a:lnTo>
                    <a:pt x="438539" y="1253836"/>
                  </a:lnTo>
                  <a:lnTo>
                    <a:pt x="431654" y="1262500"/>
                  </a:lnTo>
                  <a:cubicBezTo>
                    <a:pt x="372102" y="1330983"/>
                    <a:pt x="309574" y="1399469"/>
                    <a:pt x="250022" y="1476886"/>
                  </a:cubicBezTo>
                  <a:cubicBezTo>
                    <a:pt x="232157" y="1497728"/>
                    <a:pt x="214291" y="1515593"/>
                    <a:pt x="199402" y="1536438"/>
                  </a:cubicBezTo>
                  <a:cubicBezTo>
                    <a:pt x="181536" y="1557280"/>
                    <a:pt x="166650" y="1578124"/>
                    <a:pt x="148784" y="1598966"/>
                  </a:cubicBezTo>
                  <a:lnTo>
                    <a:pt x="75627" y="1679824"/>
                  </a:lnTo>
                  <a:lnTo>
                    <a:pt x="58982" y="1617705"/>
                  </a:lnTo>
                  <a:lnTo>
                    <a:pt x="170371" y="1479863"/>
                  </a:lnTo>
                  <a:cubicBezTo>
                    <a:pt x="255977" y="1379370"/>
                    <a:pt x="346793" y="1283343"/>
                    <a:pt x="443564" y="1191037"/>
                  </a:cubicBezTo>
                  <a:cubicBezTo>
                    <a:pt x="491206" y="1149351"/>
                    <a:pt x="529916" y="1107665"/>
                    <a:pt x="580533" y="1065979"/>
                  </a:cubicBezTo>
                  <a:cubicBezTo>
                    <a:pt x="654975" y="994516"/>
                    <a:pt x="774079" y="887323"/>
                    <a:pt x="908069" y="809905"/>
                  </a:cubicBezTo>
                  <a:cubicBezTo>
                    <a:pt x="946779" y="780130"/>
                    <a:pt x="973576" y="747374"/>
                    <a:pt x="1021217" y="720578"/>
                  </a:cubicBezTo>
                  <a:cubicBezTo>
                    <a:pt x="1062904" y="705688"/>
                    <a:pt x="1110545" y="675912"/>
                    <a:pt x="1170097" y="643160"/>
                  </a:cubicBezTo>
                  <a:cubicBezTo>
                    <a:pt x="1199873" y="628271"/>
                    <a:pt x="1232628" y="610405"/>
                    <a:pt x="1265380" y="592540"/>
                  </a:cubicBezTo>
                  <a:cubicBezTo>
                    <a:pt x="1283245" y="583608"/>
                    <a:pt x="1298135" y="574674"/>
                    <a:pt x="1316001" y="565743"/>
                  </a:cubicBezTo>
                  <a:cubicBezTo>
                    <a:pt x="1333866" y="556808"/>
                    <a:pt x="1351732" y="550853"/>
                    <a:pt x="1372573" y="544898"/>
                  </a:cubicBezTo>
                  <a:cubicBezTo>
                    <a:pt x="1432125" y="515122"/>
                    <a:pt x="1497632" y="485346"/>
                    <a:pt x="1560163" y="461525"/>
                  </a:cubicBezTo>
                  <a:cubicBezTo>
                    <a:pt x="1640558" y="424306"/>
                    <a:pt x="1724675" y="388575"/>
                    <a:pt x="1811397" y="355077"/>
                  </a:cubicBezTo>
                  <a:close/>
                  <a:moveTo>
                    <a:pt x="1124673" y="520067"/>
                  </a:moveTo>
                  <a:lnTo>
                    <a:pt x="2022132" y="279593"/>
                  </a:lnTo>
                  <a:lnTo>
                    <a:pt x="1806557" y="355076"/>
                  </a:lnTo>
                  <a:cubicBezTo>
                    <a:pt x="1720207" y="388574"/>
                    <a:pt x="1636090" y="424305"/>
                    <a:pt x="1554205" y="461525"/>
                  </a:cubicBezTo>
                  <a:cubicBezTo>
                    <a:pt x="1491677" y="485346"/>
                    <a:pt x="1426170" y="518098"/>
                    <a:pt x="1366618" y="544898"/>
                  </a:cubicBezTo>
                  <a:cubicBezTo>
                    <a:pt x="1348753" y="550853"/>
                    <a:pt x="1327908" y="559785"/>
                    <a:pt x="1310042" y="565740"/>
                  </a:cubicBezTo>
                  <a:cubicBezTo>
                    <a:pt x="1292177" y="574674"/>
                    <a:pt x="1274311" y="583605"/>
                    <a:pt x="1259425" y="592540"/>
                  </a:cubicBezTo>
                  <a:cubicBezTo>
                    <a:pt x="1226670" y="610405"/>
                    <a:pt x="1193918" y="628271"/>
                    <a:pt x="1164142" y="643157"/>
                  </a:cubicBezTo>
                  <a:cubicBezTo>
                    <a:pt x="1104590" y="675912"/>
                    <a:pt x="1056949" y="705688"/>
                    <a:pt x="1015262" y="720574"/>
                  </a:cubicBezTo>
                  <a:cubicBezTo>
                    <a:pt x="967621" y="747374"/>
                    <a:pt x="940821" y="777150"/>
                    <a:pt x="902114" y="809902"/>
                  </a:cubicBezTo>
                  <a:cubicBezTo>
                    <a:pt x="768120" y="887320"/>
                    <a:pt x="649016" y="994513"/>
                    <a:pt x="574578" y="1065975"/>
                  </a:cubicBezTo>
                  <a:lnTo>
                    <a:pt x="506130" y="1125496"/>
                  </a:lnTo>
                  <a:lnTo>
                    <a:pt x="439166" y="1186639"/>
                  </a:lnTo>
                  <a:lnTo>
                    <a:pt x="440585" y="1188058"/>
                  </a:lnTo>
                  <a:cubicBezTo>
                    <a:pt x="343814" y="1280364"/>
                    <a:pt x="252997" y="1377135"/>
                    <a:pt x="167392" y="1478001"/>
                  </a:cubicBezTo>
                  <a:lnTo>
                    <a:pt x="57891" y="1613630"/>
                  </a:lnTo>
                  <a:lnTo>
                    <a:pt x="0" y="1397579"/>
                  </a:lnTo>
                  <a:lnTo>
                    <a:pt x="20746" y="1378624"/>
                  </a:lnTo>
                  <a:cubicBezTo>
                    <a:pt x="648" y="1416587"/>
                    <a:pt x="22425" y="1409329"/>
                    <a:pt x="23259" y="1423427"/>
                  </a:cubicBezTo>
                  <a:lnTo>
                    <a:pt x="16526" y="1442259"/>
                  </a:lnTo>
                  <a:lnTo>
                    <a:pt x="113050" y="1342893"/>
                  </a:lnTo>
                  <a:cubicBezTo>
                    <a:pt x="121984" y="1325027"/>
                    <a:pt x="139850" y="1304186"/>
                    <a:pt x="160691" y="1280365"/>
                  </a:cubicBezTo>
                  <a:cubicBezTo>
                    <a:pt x="181536" y="1259520"/>
                    <a:pt x="205357" y="1238679"/>
                    <a:pt x="223222" y="1220813"/>
                  </a:cubicBezTo>
                  <a:lnTo>
                    <a:pt x="228612" y="1226800"/>
                  </a:lnTo>
                  <a:lnTo>
                    <a:pt x="226201" y="1223789"/>
                  </a:lnTo>
                  <a:cubicBezTo>
                    <a:pt x="252998" y="1196989"/>
                    <a:pt x="276819" y="1170193"/>
                    <a:pt x="303619" y="1146372"/>
                  </a:cubicBezTo>
                  <a:cubicBezTo>
                    <a:pt x="327440" y="1122551"/>
                    <a:pt x="354236" y="1098730"/>
                    <a:pt x="381036" y="1074910"/>
                  </a:cubicBezTo>
                  <a:cubicBezTo>
                    <a:pt x="413788" y="1042155"/>
                    <a:pt x="434633" y="1015358"/>
                    <a:pt x="464409" y="985582"/>
                  </a:cubicBezTo>
                  <a:cubicBezTo>
                    <a:pt x="503116" y="955806"/>
                    <a:pt x="544802" y="926030"/>
                    <a:pt x="580534" y="899230"/>
                  </a:cubicBezTo>
                  <a:cubicBezTo>
                    <a:pt x="622220" y="866478"/>
                    <a:pt x="663906" y="836702"/>
                    <a:pt x="705592" y="806926"/>
                  </a:cubicBezTo>
                  <a:lnTo>
                    <a:pt x="780365" y="754761"/>
                  </a:lnTo>
                  <a:lnTo>
                    <a:pt x="830651" y="708664"/>
                  </a:lnTo>
                  <a:cubicBezTo>
                    <a:pt x="860427" y="690799"/>
                    <a:pt x="890203" y="672933"/>
                    <a:pt x="919979" y="655067"/>
                  </a:cubicBezTo>
                  <a:cubicBezTo>
                    <a:pt x="949755" y="637202"/>
                    <a:pt x="982507" y="622315"/>
                    <a:pt x="1015262" y="604450"/>
                  </a:cubicBezTo>
                  <a:lnTo>
                    <a:pt x="1027876" y="597963"/>
                  </a:lnTo>
                  <a:lnTo>
                    <a:pt x="1060299" y="566115"/>
                  </a:lnTo>
                  <a:cubicBezTo>
                    <a:pt x="1078537" y="552341"/>
                    <a:pt x="1098638" y="538943"/>
                    <a:pt x="1113524" y="527032"/>
                  </a:cubicBez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ZA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F23BA81C-7A11-4162-B12D-09C177941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492443"/>
          </a:xfr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17C73C8-D03E-49AF-9D1F-DFA32D5D8FB2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>
          <a:xfrm>
            <a:off x="10976791" y="6380481"/>
            <a:ext cx="302195" cy="184666"/>
          </a:xfrm>
          <a:noFill/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67B645E-C5E5-4727-B977-D372A0AA71D9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4DE134D-B69C-4BE8-8224-1B35D23F26A5}"/>
              </a:ext>
            </a:extLst>
          </p:cNvPr>
          <p:cNvGrpSpPr/>
          <p:nvPr userDrawn="1"/>
        </p:nvGrpSpPr>
        <p:grpSpPr>
          <a:xfrm>
            <a:off x="3340975" y="-1"/>
            <a:ext cx="8994070" cy="7509123"/>
            <a:chOff x="-731331" y="-1"/>
            <a:chExt cx="8994070" cy="750912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6F57A7B-FA33-4A87-B82B-6F217C243F98}"/>
                </a:ext>
              </a:extLst>
            </p:cNvPr>
            <p:cNvSpPr/>
            <p:nvPr userDrawn="1"/>
          </p:nvSpPr>
          <p:spPr>
            <a:xfrm rot="10800000">
              <a:off x="0" y="-1"/>
              <a:ext cx="8262739" cy="6858000"/>
            </a:xfrm>
            <a:custGeom>
              <a:avLst/>
              <a:gdLst>
                <a:gd name="connsiteX0" fmla="*/ 774160 w 8262739"/>
                <a:gd name="connsiteY0" fmla="*/ 294728 h 6858000"/>
                <a:gd name="connsiteX1" fmla="*/ 774822 w 8262739"/>
                <a:gd name="connsiteY1" fmla="*/ 291871 h 6858000"/>
                <a:gd name="connsiteX2" fmla="*/ 758067 w 8262739"/>
                <a:gd name="connsiteY2" fmla="*/ 278466 h 6858000"/>
                <a:gd name="connsiteX3" fmla="*/ 846914 w 8262739"/>
                <a:gd name="connsiteY3" fmla="*/ 92306 h 6858000"/>
                <a:gd name="connsiteX4" fmla="*/ 899364 w 8262739"/>
                <a:gd name="connsiteY4" fmla="*/ 54843 h 6858000"/>
                <a:gd name="connsiteX5" fmla="*/ 901914 w 8262739"/>
                <a:gd name="connsiteY5" fmla="*/ 49997 h 6858000"/>
                <a:gd name="connsiteX6" fmla="*/ 842681 w 8262739"/>
                <a:gd name="connsiteY6" fmla="*/ 92306 h 6858000"/>
                <a:gd name="connsiteX7" fmla="*/ 753834 w 8262739"/>
                <a:gd name="connsiteY7" fmla="*/ 278466 h 6858000"/>
                <a:gd name="connsiteX8" fmla="*/ 674364 w 8262739"/>
                <a:gd name="connsiteY8" fmla="*/ 821039 h 6858000"/>
                <a:gd name="connsiteX9" fmla="*/ 674577 w 8262739"/>
                <a:gd name="connsiteY9" fmla="*/ 820652 h 6858000"/>
                <a:gd name="connsiteX10" fmla="*/ 681911 w 8262739"/>
                <a:gd name="connsiteY10" fmla="*/ 659247 h 6858000"/>
                <a:gd name="connsiteX11" fmla="*/ 719798 w 8262739"/>
                <a:gd name="connsiteY11" fmla="*/ 629253 h 6858000"/>
                <a:gd name="connsiteX12" fmla="*/ 721575 w 8262739"/>
                <a:gd name="connsiteY12" fmla="*/ 628045 h 6858000"/>
                <a:gd name="connsiteX13" fmla="*/ 724221 w 8262739"/>
                <a:gd name="connsiteY13" fmla="*/ 625399 h 6858000"/>
                <a:gd name="connsiteX14" fmla="*/ 758067 w 8262739"/>
                <a:gd name="connsiteY14" fmla="*/ 595781 h 6858000"/>
                <a:gd name="connsiteX15" fmla="*/ 851147 w 8262739"/>
                <a:gd name="connsiteY15" fmla="*/ 422317 h 6858000"/>
                <a:gd name="connsiteX16" fmla="*/ 854319 w 8262739"/>
                <a:gd name="connsiteY16" fmla="*/ 424431 h 6858000"/>
                <a:gd name="connsiteX17" fmla="*/ 855904 w 8262739"/>
                <a:gd name="connsiteY17" fmla="*/ 421259 h 6858000"/>
                <a:gd name="connsiteX18" fmla="*/ 851147 w 8262739"/>
                <a:gd name="connsiteY18" fmla="*/ 418088 h 6858000"/>
                <a:gd name="connsiteX19" fmla="*/ 758067 w 8262739"/>
                <a:gd name="connsiteY19" fmla="*/ 591553 h 6858000"/>
                <a:gd name="connsiteX20" fmla="*/ 724221 w 8262739"/>
                <a:gd name="connsiteY20" fmla="*/ 625399 h 6858000"/>
                <a:gd name="connsiteX21" fmla="*/ 719989 w 8262739"/>
                <a:gd name="connsiteY21" fmla="*/ 629102 h 6858000"/>
                <a:gd name="connsiteX22" fmla="*/ 719798 w 8262739"/>
                <a:gd name="connsiteY22" fmla="*/ 629253 h 6858000"/>
                <a:gd name="connsiteX23" fmla="*/ 681911 w 8262739"/>
                <a:gd name="connsiteY23" fmla="*/ 655019 h 6858000"/>
                <a:gd name="connsiteX24" fmla="*/ 681729 w 8262739"/>
                <a:gd name="connsiteY24" fmla="*/ 659070 h 6858000"/>
                <a:gd name="connsiteX25" fmla="*/ 597990 w 8262739"/>
                <a:gd name="connsiteY25" fmla="*/ 1025570 h 6858000"/>
                <a:gd name="connsiteX26" fmla="*/ 598190 w 8262739"/>
                <a:gd name="connsiteY26" fmla="*/ 1024980 h 6858000"/>
                <a:gd name="connsiteX27" fmla="*/ 595885 w 8262739"/>
                <a:gd name="connsiteY27" fmla="*/ 1024518 h 6858000"/>
                <a:gd name="connsiteX28" fmla="*/ 2119992 w 8262739"/>
                <a:gd name="connsiteY28" fmla="*/ 6660069 h 6858000"/>
                <a:gd name="connsiteX29" fmla="*/ 2120414 w 8262739"/>
                <a:gd name="connsiteY29" fmla="*/ 6658670 h 6858000"/>
                <a:gd name="connsiteX30" fmla="*/ 2111615 w 8262739"/>
                <a:gd name="connsiteY30" fmla="*/ 6649866 h 6858000"/>
                <a:gd name="connsiteX31" fmla="*/ 1743929 w 8262739"/>
                <a:gd name="connsiteY31" fmla="*/ 6858000 h 6858000"/>
                <a:gd name="connsiteX32" fmla="*/ 1672367 w 8262739"/>
                <a:gd name="connsiteY32" fmla="*/ 6858000 h 6858000"/>
                <a:gd name="connsiteX33" fmla="*/ 1638095 w 8262739"/>
                <a:gd name="connsiteY33" fmla="*/ 6819444 h 6858000"/>
                <a:gd name="connsiteX34" fmla="*/ 1663481 w 8262739"/>
                <a:gd name="connsiteY34" fmla="*/ 6785597 h 6858000"/>
                <a:gd name="connsiteX35" fmla="*/ 1901513 w 8262739"/>
                <a:gd name="connsiteY35" fmla="*/ 6858000 h 6858000"/>
                <a:gd name="connsiteX36" fmla="*/ 1795034 w 8262739"/>
                <a:gd name="connsiteY36" fmla="*/ 6858000 h 6858000"/>
                <a:gd name="connsiteX37" fmla="*/ 1731171 w 8262739"/>
                <a:gd name="connsiteY37" fmla="*/ 6781364 h 6858000"/>
                <a:gd name="connsiteX38" fmla="*/ 1698079 w 8262739"/>
                <a:gd name="connsiteY38" fmla="*/ 6745264 h 6858000"/>
                <a:gd name="connsiteX39" fmla="*/ 1793828 w 8262739"/>
                <a:gd name="connsiteY39" fmla="*/ 6858000 h 6858000"/>
                <a:gd name="connsiteX40" fmla="*/ 1748158 w 8262739"/>
                <a:gd name="connsiteY40" fmla="*/ 6858000 h 6858000"/>
                <a:gd name="connsiteX41" fmla="*/ 1667709 w 8262739"/>
                <a:gd name="connsiteY41" fmla="*/ 6785597 h 6858000"/>
                <a:gd name="connsiteX42" fmla="*/ 1574630 w 8262739"/>
                <a:gd name="connsiteY42" fmla="*/ 6671360 h 6858000"/>
                <a:gd name="connsiteX43" fmla="*/ 1485783 w 8262739"/>
                <a:gd name="connsiteY43" fmla="*/ 6552895 h 6858000"/>
                <a:gd name="connsiteX44" fmla="*/ 1595786 w 8262739"/>
                <a:gd name="connsiteY44" fmla="*/ 6624823 h 6858000"/>
                <a:gd name="connsiteX45" fmla="*/ 1601188 w 8262739"/>
                <a:gd name="connsiteY45" fmla="*/ 6631183 h 6858000"/>
                <a:gd name="connsiteX46" fmla="*/ 1651314 w 8262739"/>
                <a:gd name="connsiteY46" fmla="*/ 6642275 h 6858000"/>
                <a:gd name="connsiteX47" fmla="*/ 1765018 w 8262739"/>
                <a:gd name="connsiteY47" fmla="*/ 6747517 h 6858000"/>
                <a:gd name="connsiteX48" fmla="*/ 1848052 w 8262739"/>
                <a:gd name="connsiteY48" fmla="*/ 6814155 h 6858000"/>
                <a:gd name="connsiteX49" fmla="*/ 8262739 w 8262739"/>
                <a:gd name="connsiteY49" fmla="*/ 6858000 h 6858000"/>
                <a:gd name="connsiteX50" fmla="*/ 2188465 w 8262739"/>
                <a:gd name="connsiteY50" fmla="*/ 6858000 h 6858000"/>
                <a:gd name="connsiteX51" fmla="*/ 2116185 w 8262739"/>
                <a:gd name="connsiteY51" fmla="*/ 6794059 h 6858000"/>
                <a:gd name="connsiteX52" fmla="*/ 1976568 w 8262739"/>
                <a:gd name="connsiteY52" fmla="*/ 6679826 h 6858000"/>
                <a:gd name="connsiteX53" fmla="*/ 1773484 w 8262739"/>
                <a:gd name="connsiteY53" fmla="*/ 6455586 h 6858000"/>
                <a:gd name="connsiteX54" fmla="*/ 1759550 w 8262739"/>
                <a:gd name="connsiteY54" fmla="*/ 6412038 h 6858000"/>
                <a:gd name="connsiteX55" fmla="*/ 1718480 w 8262739"/>
                <a:gd name="connsiteY55" fmla="*/ 6370968 h 6858000"/>
                <a:gd name="connsiteX56" fmla="*/ 1578863 w 8262739"/>
                <a:gd name="connsiteY56" fmla="*/ 6218656 h 6858000"/>
                <a:gd name="connsiteX57" fmla="*/ 1561939 w 8262739"/>
                <a:gd name="connsiteY57" fmla="*/ 6142499 h 6858000"/>
                <a:gd name="connsiteX58" fmla="*/ 1506935 w 8262739"/>
                <a:gd name="connsiteY58" fmla="*/ 6066343 h 6858000"/>
                <a:gd name="connsiteX59" fmla="*/ 1500383 w 8262739"/>
                <a:gd name="connsiteY59" fmla="*/ 6056069 h 6858000"/>
                <a:gd name="connsiteX60" fmla="*/ 1435007 w 8262739"/>
                <a:gd name="connsiteY60" fmla="*/ 6011339 h 6858000"/>
                <a:gd name="connsiteX61" fmla="*/ 1308080 w 8262739"/>
                <a:gd name="connsiteY61" fmla="*/ 5829412 h 6858000"/>
                <a:gd name="connsiteX62" fmla="*/ 1236157 w 8262739"/>
                <a:gd name="connsiteY62" fmla="*/ 5660176 h 6858000"/>
                <a:gd name="connsiteX63" fmla="*/ 1227695 w 8262739"/>
                <a:gd name="connsiteY63" fmla="*/ 5660176 h 6858000"/>
                <a:gd name="connsiteX64" fmla="*/ 1130387 w 8262739"/>
                <a:gd name="connsiteY64" fmla="*/ 5474016 h 6858000"/>
                <a:gd name="connsiteX65" fmla="*/ 1037307 w 8262739"/>
                <a:gd name="connsiteY65" fmla="*/ 5287856 h 6858000"/>
                <a:gd name="connsiteX66" fmla="*/ 939994 w 8262739"/>
                <a:gd name="connsiteY66" fmla="*/ 5072083 h 6858000"/>
                <a:gd name="connsiteX67" fmla="*/ 851147 w 8262739"/>
                <a:gd name="connsiteY67" fmla="*/ 4852075 h 6858000"/>
                <a:gd name="connsiteX68" fmla="*/ 898733 w 8262739"/>
                <a:gd name="connsiteY68" fmla="*/ 4922927 h 6858000"/>
                <a:gd name="connsiteX69" fmla="*/ 898752 w 8262739"/>
                <a:gd name="connsiteY69" fmla="*/ 4922958 h 6858000"/>
                <a:gd name="connsiteX70" fmla="*/ 939994 w 8262739"/>
                <a:gd name="connsiteY70" fmla="*/ 5000155 h 6858000"/>
                <a:gd name="connsiteX71" fmla="*/ 1028845 w 8262739"/>
                <a:gd name="connsiteY71" fmla="*/ 5186315 h 6858000"/>
                <a:gd name="connsiteX72" fmla="*/ 1058459 w 8262739"/>
                <a:gd name="connsiteY72" fmla="*/ 5287856 h 6858000"/>
                <a:gd name="connsiteX73" fmla="*/ 1070701 w 8262739"/>
                <a:gd name="connsiteY73" fmla="*/ 5305806 h 6858000"/>
                <a:gd name="connsiteX74" fmla="*/ 1055634 w 8262739"/>
                <a:gd name="connsiteY74" fmla="*/ 5227473 h 6858000"/>
                <a:gd name="connsiteX75" fmla="*/ 1016346 w 8262739"/>
                <a:gd name="connsiteY75" fmla="*/ 5156168 h 6858000"/>
                <a:gd name="connsiteX76" fmla="*/ 952391 w 8262739"/>
                <a:gd name="connsiteY76" fmla="*/ 5012357 h 6858000"/>
                <a:gd name="connsiteX77" fmla="*/ 898752 w 8262739"/>
                <a:gd name="connsiteY77" fmla="*/ 4922958 h 6858000"/>
                <a:gd name="connsiteX78" fmla="*/ 898743 w 8262739"/>
                <a:gd name="connsiteY78" fmla="*/ 4922942 h 6858000"/>
                <a:gd name="connsiteX79" fmla="*/ 898733 w 8262739"/>
                <a:gd name="connsiteY79" fmla="*/ 4922927 h 6858000"/>
                <a:gd name="connsiteX80" fmla="*/ 876528 w 8262739"/>
                <a:gd name="connsiteY80" fmla="*/ 4885918 h 6858000"/>
                <a:gd name="connsiteX81" fmla="*/ 783448 w 8262739"/>
                <a:gd name="connsiteY81" fmla="*/ 4632064 h 6858000"/>
                <a:gd name="connsiteX82" fmla="*/ 703703 w 8262739"/>
                <a:gd name="connsiteY82" fmla="*/ 4371836 h 6858000"/>
                <a:gd name="connsiteX83" fmla="*/ 677518 w 8262739"/>
                <a:gd name="connsiteY83" fmla="*/ 4295977 h 6858000"/>
                <a:gd name="connsiteX84" fmla="*/ 563468 w 8262739"/>
                <a:gd name="connsiteY84" fmla="*/ 3840737 h 6858000"/>
                <a:gd name="connsiteX85" fmla="*/ 513030 w 8262739"/>
                <a:gd name="connsiteY85" fmla="*/ 3510255 h 6858000"/>
                <a:gd name="connsiteX86" fmla="*/ 512670 w 8262739"/>
                <a:gd name="connsiteY86" fmla="*/ 3519338 h 6858000"/>
                <a:gd name="connsiteX87" fmla="*/ 516903 w 8262739"/>
                <a:gd name="connsiteY87" fmla="*/ 3587033 h 6858000"/>
                <a:gd name="connsiteX88" fmla="*/ 538056 w 8262739"/>
                <a:gd name="connsiteY88" fmla="*/ 3743579 h 6858000"/>
                <a:gd name="connsiteX89" fmla="*/ 563441 w 8262739"/>
                <a:gd name="connsiteY89" fmla="*/ 3904353 h 6858000"/>
                <a:gd name="connsiteX90" fmla="*/ 521132 w 8262739"/>
                <a:gd name="connsiteY90" fmla="*/ 3764731 h 6858000"/>
                <a:gd name="connsiteX91" fmla="*/ 491518 w 8262739"/>
                <a:gd name="connsiteY91" fmla="*/ 3587033 h 6858000"/>
                <a:gd name="connsiteX92" fmla="*/ 457671 w 8262739"/>
                <a:gd name="connsiteY92" fmla="*/ 3587033 h 6858000"/>
                <a:gd name="connsiteX93" fmla="*/ 436514 w 8262739"/>
                <a:gd name="connsiteY93" fmla="*/ 3426258 h 6858000"/>
                <a:gd name="connsiteX94" fmla="*/ 406900 w 8262739"/>
                <a:gd name="connsiteY94" fmla="*/ 3324717 h 6858000"/>
                <a:gd name="connsiteX95" fmla="*/ 381515 w 8262739"/>
                <a:gd name="connsiteY95" fmla="*/ 3227408 h 6858000"/>
                <a:gd name="connsiteX96" fmla="*/ 309587 w 8262739"/>
                <a:gd name="connsiteY96" fmla="*/ 3151252 h 6858000"/>
                <a:gd name="connsiteX97" fmla="*/ 288435 w 8262739"/>
                <a:gd name="connsiteY97" fmla="*/ 3151252 h 6858000"/>
                <a:gd name="connsiteX98" fmla="*/ 267278 w 8262739"/>
                <a:gd name="connsiteY98" fmla="*/ 3045477 h 6858000"/>
                <a:gd name="connsiteX99" fmla="*/ 258816 w 8262739"/>
                <a:gd name="connsiteY99" fmla="*/ 2910088 h 6858000"/>
                <a:gd name="connsiteX100" fmla="*/ 275740 w 8262739"/>
                <a:gd name="connsiteY100" fmla="*/ 2719700 h 6858000"/>
                <a:gd name="connsiteX101" fmla="*/ 284202 w 8262739"/>
                <a:gd name="connsiteY101" fmla="*/ 2652006 h 6858000"/>
                <a:gd name="connsiteX102" fmla="*/ 298611 w 8262739"/>
                <a:gd name="connsiteY102" fmla="*/ 2605575 h 6858000"/>
                <a:gd name="connsiteX103" fmla="*/ 291606 w 8262739"/>
                <a:gd name="connsiteY103" fmla="*/ 2499693 h 6858000"/>
                <a:gd name="connsiteX104" fmla="*/ 301125 w 8262739"/>
                <a:gd name="connsiteY104" fmla="*/ 2343147 h 6858000"/>
                <a:gd name="connsiteX105" fmla="*/ 318049 w 8262739"/>
                <a:gd name="connsiteY105" fmla="*/ 2311419 h 6858000"/>
                <a:gd name="connsiteX106" fmla="*/ 318049 w 8262739"/>
                <a:gd name="connsiteY106" fmla="*/ 2292377 h 6858000"/>
                <a:gd name="connsiteX107" fmla="*/ 284202 w 8262739"/>
                <a:gd name="connsiteY107" fmla="*/ 2355842 h 6858000"/>
                <a:gd name="connsiteX108" fmla="*/ 254587 w 8262739"/>
                <a:gd name="connsiteY108" fmla="*/ 2313533 h 6858000"/>
                <a:gd name="connsiteX109" fmla="*/ 199583 w 8262739"/>
                <a:gd name="connsiteY109" fmla="*/ 2237377 h 6858000"/>
                <a:gd name="connsiteX110" fmla="*/ 189536 w 8262739"/>
                <a:gd name="connsiteY110" fmla="*/ 2177087 h 6858000"/>
                <a:gd name="connsiteX111" fmla="*/ 186893 w 8262739"/>
                <a:gd name="connsiteY111" fmla="*/ 2182373 h 6858000"/>
                <a:gd name="connsiteX112" fmla="*/ 169969 w 8262739"/>
                <a:gd name="connsiteY112" fmla="*/ 2351609 h 6858000"/>
                <a:gd name="connsiteX113" fmla="*/ 157274 w 8262739"/>
                <a:gd name="connsiteY113" fmla="*/ 2520845 h 6858000"/>
                <a:gd name="connsiteX114" fmla="*/ 144584 w 8262739"/>
                <a:gd name="connsiteY114" fmla="*/ 2652006 h 6858000"/>
                <a:gd name="connsiteX115" fmla="*/ 144584 w 8262739"/>
                <a:gd name="connsiteY115" fmla="*/ 2922779 h 6858000"/>
                <a:gd name="connsiteX116" fmla="*/ 148813 w 8262739"/>
                <a:gd name="connsiteY116" fmla="*/ 3062401 h 6858000"/>
                <a:gd name="connsiteX117" fmla="*/ 157274 w 8262739"/>
                <a:gd name="connsiteY117" fmla="*/ 3202018 h 6858000"/>
                <a:gd name="connsiteX118" fmla="*/ 119198 w 8262739"/>
                <a:gd name="connsiteY118" fmla="*/ 3333179 h 6858000"/>
                <a:gd name="connsiteX119" fmla="*/ 110737 w 8262739"/>
                <a:gd name="connsiteY119" fmla="*/ 3333179 h 6858000"/>
                <a:gd name="connsiteX120" fmla="*/ 85351 w 8262739"/>
                <a:gd name="connsiteY120" fmla="*/ 3079324 h 6858000"/>
                <a:gd name="connsiteX121" fmla="*/ 85351 w 8262739"/>
                <a:gd name="connsiteY121" fmla="*/ 2817009 h 6858000"/>
                <a:gd name="connsiteX122" fmla="*/ 106504 w 8262739"/>
                <a:gd name="connsiteY122" fmla="*/ 2613925 h 6858000"/>
                <a:gd name="connsiteX123" fmla="*/ 144566 w 8262739"/>
                <a:gd name="connsiteY123" fmla="*/ 2651983 h 6858000"/>
                <a:gd name="connsiteX124" fmla="*/ 110737 w 8262739"/>
                <a:gd name="connsiteY124" fmla="*/ 2609697 h 6858000"/>
                <a:gd name="connsiteX125" fmla="*/ 102275 w 8262739"/>
                <a:gd name="connsiteY125" fmla="*/ 2457384 h 6858000"/>
                <a:gd name="connsiteX126" fmla="*/ 110737 w 8262739"/>
                <a:gd name="connsiteY126" fmla="*/ 2224682 h 6858000"/>
                <a:gd name="connsiteX127" fmla="*/ 114965 w 8262739"/>
                <a:gd name="connsiteY127" fmla="*/ 2161221 h 6858000"/>
                <a:gd name="connsiteX128" fmla="*/ 127660 w 8262739"/>
                <a:gd name="connsiteY128" fmla="*/ 2055446 h 6858000"/>
                <a:gd name="connsiteX129" fmla="*/ 178431 w 8262739"/>
                <a:gd name="connsiteY129" fmla="*/ 1865057 h 6858000"/>
                <a:gd name="connsiteX130" fmla="*/ 203728 w 8262739"/>
                <a:gd name="connsiteY130" fmla="*/ 1738579 h 6858000"/>
                <a:gd name="connsiteX131" fmla="*/ 195355 w 8262739"/>
                <a:gd name="connsiteY131" fmla="*/ 1708512 h 6858000"/>
                <a:gd name="connsiteX132" fmla="*/ 165736 w 8262739"/>
                <a:gd name="connsiteY132" fmla="*/ 1877748 h 6858000"/>
                <a:gd name="connsiteX133" fmla="*/ 114965 w 8262739"/>
                <a:gd name="connsiteY133" fmla="*/ 2068141 h 6858000"/>
                <a:gd name="connsiteX134" fmla="*/ 102275 w 8262739"/>
                <a:gd name="connsiteY134" fmla="*/ 2173911 h 6858000"/>
                <a:gd name="connsiteX135" fmla="*/ 98042 w 8262739"/>
                <a:gd name="connsiteY135" fmla="*/ 2237377 h 6858000"/>
                <a:gd name="connsiteX136" fmla="*/ 89580 w 8262739"/>
                <a:gd name="connsiteY136" fmla="*/ 2470075 h 6858000"/>
                <a:gd name="connsiteX137" fmla="*/ 98042 w 8262739"/>
                <a:gd name="connsiteY137" fmla="*/ 2622387 h 6858000"/>
                <a:gd name="connsiteX138" fmla="*/ 76889 w 8262739"/>
                <a:gd name="connsiteY138" fmla="*/ 2825470 h 6858000"/>
                <a:gd name="connsiteX139" fmla="*/ 76889 w 8262739"/>
                <a:gd name="connsiteY139" fmla="*/ 3087786 h 6858000"/>
                <a:gd name="connsiteX140" fmla="*/ 102275 w 8262739"/>
                <a:gd name="connsiteY140" fmla="*/ 3341640 h 6858000"/>
                <a:gd name="connsiteX141" fmla="*/ 110737 w 8262739"/>
                <a:gd name="connsiteY141" fmla="*/ 3341640 h 6858000"/>
                <a:gd name="connsiteX142" fmla="*/ 165736 w 8262739"/>
                <a:gd name="connsiteY142" fmla="*/ 3582805 h 6858000"/>
                <a:gd name="connsiteX143" fmla="*/ 195355 w 8262739"/>
                <a:gd name="connsiteY143" fmla="*/ 3781654 h 6858000"/>
                <a:gd name="connsiteX144" fmla="*/ 258816 w 8262739"/>
                <a:gd name="connsiteY144" fmla="*/ 3984738 h 6858000"/>
                <a:gd name="connsiteX145" fmla="*/ 358772 w 8262739"/>
                <a:gd name="connsiteY145" fmla="*/ 4421447 h 6858000"/>
                <a:gd name="connsiteX146" fmla="*/ 367496 w 8262739"/>
                <a:gd name="connsiteY146" fmla="*/ 4505141 h 6858000"/>
                <a:gd name="connsiteX147" fmla="*/ 385748 w 8262739"/>
                <a:gd name="connsiteY147" fmla="*/ 4505141 h 6858000"/>
                <a:gd name="connsiteX148" fmla="*/ 478828 w 8262739"/>
                <a:gd name="connsiteY148" fmla="*/ 4729378 h 6858000"/>
                <a:gd name="connsiteX149" fmla="*/ 512675 w 8262739"/>
                <a:gd name="connsiteY149" fmla="*/ 4843614 h 6858000"/>
                <a:gd name="connsiteX150" fmla="*/ 449209 w 8262739"/>
                <a:gd name="connsiteY150" fmla="*/ 4746301 h 6858000"/>
                <a:gd name="connsiteX151" fmla="*/ 381515 w 8262739"/>
                <a:gd name="connsiteY151" fmla="*/ 4593989 h 6858000"/>
                <a:gd name="connsiteX152" fmla="*/ 377286 w 8262739"/>
                <a:gd name="connsiteY152" fmla="*/ 4636297 h 6858000"/>
                <a:gd name="connsiteX153" fmla="*/ 340476 w 8262739"/>
                <a:gd name="connsiteY153" fmla="*/ 4522194 h 6858000"/>
                <a:gd name="connsiteX154" fmla="*/ 313820 w 8262739"/>
                <a:gd name="connsiteY154" fmla="*/ 4526294 h 6858000"/>
                <a:gd name="connsiteX155" fmla="*/ 284202 w 8262739"/>
                <a:gd name="connsiteY155" fmla="*/ 4428985 h 6858000"/>
                <a:gd name="connsiteX156" fmla="*/ 182660 w 8262739"/>
                <a:gd name="connsiteY156" fmla="*/ 4196284 h 6858000"/>
                <a:gd name="connsiteX157" fmla="*/ 119198 w 8262739"/>
                <a:gd name="connsiteY157" fmla="*/ 3988971 h 6858000"/>
                <a:gd name="connsiteX158" fmla="*/ 114965 w 8262739"/>
                <a:gd name="connsiteY158" fmla="*/ 3815502 h 6858000"/>
                <a:gd name="connsiteX159" fmla="*/ 85351 w 8262739"/>
                <a:gd name="connsiteY159" fmla="*/ 3612418 h 6858000"/>
                <a:gd name="connsiteX160" fmla="*/ 64195 w 8262739"/>
                <a:gd name="connsiteY160" fmla="*/ 3409335 h 6858000"/>
                <a:gd name="connsiteX161" fmla="*/ 17657 w 8262739"/>
                <a:gd name="connsiteY161" fmla="*/ 3261255 h 6858000"/>
                <a:gd name="connsiteX162" fmla="*/ 47271 w 8262739"/>
                <a:gd name="connsiteY162" fmla="*/ 2474308 h 6858000"/>
                <a:gd name="connsiteX163" fmla="*/ 76889 w 8262739"/>
                <a:gd name="connsiteY163" fmla="*/ 2271224 h 6858000"/>
                <a:gd name="connsiteX164" fmla="*/ 51504 w 8262739"/>
                <a:gd name="connsiteY164" fmla="*/ 2161221 h 6858000"/>
                <a:gd name="connsiteX165" fmla="*/ 102275 w 8262739"/>
                <a:gd name="connsiteY165" fmla="*/ 1856596 h 6858000"/>
                <a:gd name="connsiteX166" fmla="*/ 114965 w 8262739"/>
                <a:gd name="connsiteY166" fmla="*/ 1784668 h 6858000"/>
                <a:gd name="connsiteX167" fmla="*/ 148813 w 8262739"/>
                <a:gd name="connsiteY167" fmla="*/ 1539276 h 6858000"/>
                <a:gd name="connsiteX168" fmla="*/ 237664 w 8262739"/>
                <a:gd name="connsiteY168" fmla="*/ 1361578 h 6858000"/>
                <a:gd name="connsiteX169" fmla="*/ 216507 w 8262739"/>
                <a:gd name="connsiteY169" fmla="*/ 1602741 h 6858000"/>
                <a:gd name="connsiteX170" fmla="*/ 237655 w 8262739"/>
                <a:gd name="connsiteY170" fmla="*/ 1561405 h 6858000"/>
                <a:gd name="connsiteX171" fmla="*/ 250354 w 8262739"/>
                <a:gd name="connsiteY171" fmla="*/ 1462591 h 6858000"/>
                <a:gd name="connsiteX172" fmla="*/ 254587 w 8262739"/>
                <a:gd name="connsiteY172" fmla="*/ 1353116 h 6858000"/>
                <a:gd name="connsiteX173" fmla="*/ 292663 w 8262739"/>
                <a:gd name="connsiteY173" fmla="*/ 1213494 h 6858000"/>
                <a:gd name="connsiteX174" fmla="*/ 351896 w 8262739"/>
                <a:gd name="connsiteY174" fmla="*/ 1001948 h 6858000"/>
                <a:gd name="connsiteX175" fmla="*/ 423824 w 8262739"/>
                <a:gd name="connsiteY175" fmla="*/ 786174 h 6858000"/>
                <a:gd name="connsiteX176" fmla="*/ 429212 w 8262739"/>
                <a:gd name="connsiteY176" fmla="*/ 780111 h 6858000"/>
                <a:gd name="connsiteX177" fmla="*/ 461904 w 8262739"/>
                <a:gd name="connsiteY177" fmla="*/ 608476 h 6858000"/>
                <a:gd name="connsiteX178" fmla="*/ 508442 w 8262739"/>
                <a:gd name="connsiteY178" fmla="*/ 485778 h 6858000"/>
                <a:gd name="connsiteX179" fmla="*/ 563446 w 8262739"/>
                <a:gd name="connsiteY179" fmla="*/ 384236 h 6858000"/>
                <a:gd name="connsiteX180" fmla="*/ 673449 w 8262739"/>
                <a:gd name="connsiteY180" fmla="*/ 172691 h 6858000"/>
                <a:gd name="connsiteX181" fmla="*/ 717872 w 8262739"/>
                <a:gd name="connsiteY181" fmla="*/ 77497 h 6858000"/>
                <a:gd name="connsiteX182" fmla="*/ 754037 w 8262739"/>
                <a:gd name="connsiteY182" fmla="*/ 0 h 6858000"/>
                <a:gd name="connsiteX183" fmla="*/ 1028695 w 8262739"/>
                <a:gd name="connsiteY183" fmla="*/ 0 h 6858000"/>
                <a:gd name="connsiteX184" fmla="*/ 986532 w 8262739"/>
                <a:gd name="connsiteY184" fmla="*/ 71149 h 6858000"/>
                <a:gd name="connsiteX185" fmla="*/ 859605 w 8262739"/>
                <a:gd name="connsiteY185" fmla="*/ 308080 h 6858000"/>
                <a:gd name="connsiteX186" fmla="*/ 721537 w 8262739"/>
                <a:gd name="connsiteY186" fmla="*/ 525648 h 6858000"/>
                <a:gd name="connsiteX187" fmla="*/ 719987 w 8262739"/>
                <a:gd name="connsiteY187" fmla="*/ 532320 h 6858000"/>
                <a:gd name="connsiteX188" fmla="*/ 673445 w 8262739"/>
                <a:gd name="connsiteY188" fmla="*/ 659247 h 6858000"/>
                <a:gd name="connsiteX189" fmla="*/ 639597 w 8262739"/>
                <a:gd name="connsiteY189" fmla="*/ 718480 h 6858000"/>
                <a:gd name="connsiteX190" fmla="*/ 631136 w 8262739"/>
                <a:gd name="connsiteY190" fmla="*/ 726942 h 6858000"/>
                <a:gd name="connsiteX191" fmla="*/ 593588 w 8262739"/>
                <a:gd name="connsiteY191" fmla="*/ 851755 h 6858000"/>
                <a:gd name="connsiteX192" fmla="*/ 584598 w 8262739"/>
                <a:gd name="connsiteY192" fmla="*/ 925796 h 6858000"/>
                <a:gd name="connsiteX193" fmla="*/ 576136 w 8262739"/>
                <a:gd name="connsiteY193" fmla="*/ 1031567 h 6858000"/>
                <a:gd name="connsiteX194" fmla="*/ 516903 w 8262739"/>
                <a:gd name="connsiteY194" fmla="*/ 1205036 h 6858000"/>
                <a:gd name="connsiteX195" fmla="*/ 461900 w 8262739"/>
                <a:gd name="connsiteY195" fmla="*/ 1378501 h 6858000"/>
                <a:gd name="connsiteX196" fmla="*/ 402667 w 8262739"/>
                <a:gd name="connsiteY196" fmla="*/ 1632355 h 6858000"/>
                <a:gd name="connsiteX197" fmla="*/ 368820 w 8262739"/>
                <a:gd name="connsiteY197" fmla="*/ 1865057 h 6858000"/>
                <a:gd name="connsiteX198" fmla="*/ 347667 w 8262739"/>
                <a:gd name="connsiteY198" fmla="*/ 2097755 h 6858000"/>
                <a:gd name="connsiteX199" fmla="*/ 377281 w 8262739"/>
                <a:gd name="connsiteY199" fmla="*/ 1936981 h 6858000"/>
                <a:gd name="connsiteX200" fmla="*/ 380027 w 8262739"/>
                <a:gd name="connsiteY200" fmla="*/ 1923713 h 6858000"/>
                <a:gd name="connsiteX201" fmla="*/ 385743 w 8262739"/>
                <a:gd name="connsiteY201" fmla="*/ 1860824 h 6858000"/>
                <a:gd name="connsiteX202" fmla="*/ 419590 w 8262739"/>
                <a:gd name="connsiteY202" fmla="*/ 1628127 h 6858000"/>
                <a:gd name="connsiteX203" fmla="*/ 430189 w 8262739"/>
                <a:gd name="connsiteY203" fmla="*/ 1631662 h 6858000"/>
                <a:gd name="connsiteX204" fmla="*/ 431108 w 8262739"/>
                <a:gd name="connsiteY204" fmla="*/ 1627731 h 6858000"/>
                <a:gd name="connsiteX205" fmla="*/ 419595 w 8262739"/>
                <a:gd name="connsiteY205" fmla="*/ 1623894 h 6858000"/>
                <a:gd name="connsiteX206" fmla="*/ 478828 w 8262739"/>
                <a:gd name="connsiteY206" fmla="*/ 1370039 h 6858000"/>
                <a:gd name="connsiteX207" fmla="*/ 533827 w 8262739"/>
                <a:gd name="connsiteY207" fmla="*/ 1196570 h 6858000"/>
                <a:gd name="connsiteX208" fmla="*/ 592789 w 8262739"/>
                <a:gd name="connsiteY208" fmla="*/ 1023900 h 6858000"/>
                <a:gd name="connsiteX209" fmla="*/ 588831 w 8262739"/>
                <a:gd name="connsiteY209" fmla="*/ 1023105 h 6858000"/>
                <a:gd name="connsiteX210" fmla="*/ 597293 w 8262739"/>
                <a:gd name="connsiteY210" fmla="*/ 917335 h 6858000"/>
                <a:gd name="connsiteX211" fmla="*/ 643831 w 8262739"/>
                <a:gd name="connsiteY211" fmla="*/ 718480 h 6858000"/>
                <a:gd name="connsiteX212" fmla="*/ 677678 w 8262739"/>
                <a:gd name="connsiteY212" fmla="*/ 659247 h 6858000"/>
                <a:gd name="connsiteX213" fmla="*/ 678815 w 8262739"/>
                <a:gd name="connsiteY213" fmla="*/ 656156 h 6858000"/>
                <a:gd name="connsiteX214" fmla="*/ 724220 w 8262739"/>
                <a:gd name="connsiteY214" fmla="*/ 532320 h 6858000"/>
                <a:gd name="connsiteX215" fmla="*/ 863838 w 8262739"/>
                <a:gd name="connsiteY215" fmla="*/ 312313 h 6858000"/>
                <a:gd name="connsiteX216" fmla="*/ 990765 w 8262739"/>
                <a:gd name="connsiteY216" fmla="*/ 75382 h 6858000"/>
                <a:gd name="connsiteX217" fmla="*/ 1024614 w 8262739"/>
                <a:gd name="connsiteY217" fmla="*/ 19852 h 6858000"/>
                <a:gd name="connsiteX218" fmla="*/ 1036060 w 8262739"/>
                <a:gd name="connsiteY218" fmla="*/ 0 h 6858000"/>
                <a:gd name="connsiteX219" fmla="*/ 1150037 w 8262739"/>
                <a:gd name="connsiteY219" fmla="*/ 0 h 6858000"/>
                <a:gd name="connsiteX220" fmla="*/ 1075780 w 8262739"/>
                <a:gd name="connsiteY220" fmla="*/ 117164 h 6858000"/>
                <a:gd name="connsiteX221" fmla="*/ 796143 w 8262739"/>
                <a:gd name="connsiteY221" fmla="*/ 655019 h 6858000"/>
                <a:gd name="connsiteX222" fmla="*/ 741139 w 8262739"/>
                <a:gd name="connsiteY222" fmla="*/ 828483 h 6858000"/>
                <a:gd name="connsiteX223" fmla="*/ 690368 w 8262739"/>
                <a:gd name="connsiteY223" fmla="*/ 1006181 h 6858000"/>
                <a:gd name="connsiteX224" fmla="*/ 580365 w 8262739"/>
                <a:gd name="connsiteY224" fmla="*/ 1378501 h 6858000"/>
                <a:gd name="connsiteX225" fmla="*/ 508442 w 8262739"/>
                <a:gd name="connsiteY225" fmla="*/ 1632355 h 6858000"/>
                <a:gd name="connsiteX226" fmla="*/ 474594 w 8262739"/>
                <a:gd name="connsiteY226" fmla="*/ 1822748 h 6858000"/>
                <a:gd name="connsiteX227" fmla="*/ 457671 w 8262739"/>
                <a:gd name="connsiteY227" fmla="*/ 1920057 h 6858000"/>
                <a:gd name="connsiteX228" fmla="*/ 444976 w 8262739"/>
                <a:gd name="connsiteY228" fmla="*/ 2017370 h 6858000"/>
                <a:gd name="connsiteX229" fmla="*/ 406900 w 8262739"/>
                <a:gd name="connsiteY229" fmla="*/ 2279686 h 6858000"/>
                <a:gd name="connsiteX230" fmla="*/ 394205 w 8262739"/>
                <a:gd name="connsiteY230" fmla="*/ 2440460 h 6858000"/>
                <a:gd name="connsiteX231" fmla="*/ 415362 w 8262739"/>
                <a:gd name="connsiteY231" fmla="*/ 2609697 h 6858000"/>
                <a:gd name="connsiteX232" fmla="*/ 425276 w 8262739"/>
                <a:gd name="connsiteY232" fmla="*/ 2517483 h 6858000"/>
                <a:gd name="connsiteX233" fmla="*/ 423824 w 8262739"/>
                <a:gd name="connsiteY233" fmla="*/ 2486998 h 6858000"/>
                <a:gd name="connsiteX234" fmla="*/ 440747 w 8262739"/>
                <a:gd name="connsiteY234" fmla="*/ 2309300 h 6858000"/>
                <a:gd name="connsiteX235" fmla="*/ 478823 w 8262739"/>
                <a:gd name="connsiteY235" fmla="*/ 2046984 h 6858000"/>
                <a:gd name="connsiteX236" fmla="*/ 509024 w 8262739"/>
                <a:gd name="connsiteY236" fmla="*/ 2010743 h 6858000"/>
                <a:gd name="connsiteX237" fmla="*/ 552878 w 8262739"/>
                <a:gd name="connsiteY237" fmla="*/ 1717258 h 6858000"/>
                <a:gd name="connsiteX238" fmla="*/ 550751 w 8262739"/>
                <a:gd name="connsiteY238" fmla="*/ 1666203 h 6858000"/>
                <a:gd name="connsiteX239" fmla="*/ 592549 w 8262739"/>
                <a:gd name="connsiteY239" fmla="*/ 1546374 h 6858000"/>
                <a:gd name="connsiteX240" fmla="*/ 617419 w 8262739"/>
                <a:gd name="connsiteY240" fmla="*/ 1445769 h 6858000"/>
                <a:gd name="connsiteX241" fmla="*/ 609983 w 8262739"/>
                <a:gd name="connsiteY241" fmla="*/ 1463119 h 6858000"/>
                <a:gd name="connsiteX242" fmla="*/ 584598 w 8262739"/>
                <a:gd name="connsiteY242" fmla="*/ 1454657 h 6858000"/>
                <a:gd name="connsiteX243" fmla="*/ 521132 w 8262739"/>
                <a:gd name="connsiteY243" fmla="*/ 1636589 h 6858000"/>
                <a:gd name="connsiteX244" fmla="*/ 525365 w 8262739"/>
                <a:gd name="connsiteY244" fmla="*/ 1738130 h 6858000"/>
                <a:gd name="connsiteX245" fmla="*/ 495747 w 8262739"/>
                <a:gd name="connsiteY245" fmla="*/ 1932752 h 6858000"/>
                <a:gd name="connsiteX246" fmla="*/ 491518 w 8262739"/>
                <a:gd name="connsiteY246" fmla="*/ 1966599 h 6858000"/>
                <a:gd name="connsiteX247" fmla="*/ 449209 w 8262739"/>
                <a:gd name="connsiteY247" fmla="*/ 2017370 h 6858000"/>
                <a:gd name="connsiteX248" fmla="*/ 461900 w 8262739"/>
                <a:gd name="connsiteY248" fmla="*/ 1920057 h 6858000"/>
                <a:gd name="connsiteX249" fmla="*/ 478823 w 8262739"/>
                <a:gd name="connsiteY249" fmla="*/ 1822748 h 6858000"/>
                <a:gd name="connsiteX250" fmla="*/ 512670 w 8262739"/>
                <a:gd name="connsiteY250" fmla="*/ 1632355 h 6858000"/>
                <a:gd name="connsiteX251" fmla="*/ 584598 w 8262739"/>
                <a:gd name="connsiteY251" fmla="*/ 1378501 h 6858000"/>
                <a:gd name="connsiteX252" fmla="*/ 694601 w 8262739"/>
                <a:gd name="connsiteY252" fmla="*/ 1006181 h 6858000"/>
                <a:gd name="connsiteX253" fmla="*/ 745372 w 8262739"/>
                <a:gd name="connsiteY253" fmla="*/ 828483 h 6858000"/>
                <a:gd name="connsiteX254" fmla="*/ 800372 w 8262739"/>
                <a:gd name="connsiteY254" fmla="*/ 655019 h 6858000"/>
                <a:gd name="connsiteX255" fmla="*/ 1078224 w 8262739"/>
                <a:gd name="connsiteY255" fmla="*/ 117164 h 6858000"/>
                <a:gd name="connsiteX256" fmla="*/ 1153691 w 8262739"/>
                <a:gd name="connsiteY256" fmla="*/ 0 h 6858000"/>
                <a:gd name="connsiteX257" fmla="*/ 8262739 w 8262739"/>
                <a:gd name="connsiteY257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8262739" h="6858000">
                  <a:moveTo>
                    <a:pt x="774160" y="294728"/>
                  </a:moveTo>
                  <a:lnTo>
                    <a:pt x="774822" y="291871"/>
                  </a:lnTo>
                  <a:lnTo>
                    <a:pt x="758067" y="278466"/>
                  </a:lnTo>
                  <a:cubicBezTo>
                    <a:pt x="796143" y="193848"/>
                    <a:pt x="817300" y="147306"/>
                    <a:pt x="846914" y="92306"/>
                  </a:cubicBezTo>
                  <a:lnTo>
                    <a:pt x="899364" y="54843"/>
                  </a:lnTo>
                  <a:lnTo>
                    <a:pt x="901914" y="49997"/>
                  </a:lnTo>
                  <a:cubicBezTo>
                    <a:pt x="884990" y="62692"/>
                    <a:pt x="863838" y="75382"/>
                    <a:pt x="842681" y="92306"/>
                  </a:cubicBezTo>
                  <a:cubicBezTo>
                    <a:pt x="813067" y="147310"/>
                    <a:pt x="791910" y="193848"/>
                    <a:pt x="753834" y="278466"/>
                  </a:cubicBezTo>
                  <a:close/>
                  <a:moveTo>
                    <a:pt x="674364" y="821039"/>
                  </a:moveTo>
                  <a:lnTo>
                    <a:pt x="674577" y="820652"/>
                  </a:lnTo>
                  <a:lnTo>
                    <a:pt x="681911" y="659247"/>
                  </a:lnTo>
                  <a:lnTo>
                    <a:pt x="719798" y="629253"/>
                  </a:lnTo>
                  <a:lnTo>
                    <a:pt x="721575" y="628045"/>
                  </a:lnTo>
                  <a:lnTo>
                    <a:pt x="724221" y="625399"/>
                  </a:lnTo>
                  <a:lnTo>
                    <a:pt x="758067" y="595781"/>
                  </a:lnTo>
                  <a:cubicBezTo>
                    <a:pt x="770758" y="566167"/>
                    <a:pt x="787681" y="532320"/>
                    <a:pt x="851147" y="422317"/>
                  </a:cubicBezTo>
                  <a:lnTo>
                    <a:pt x="854319" y="424431"/>
                  </a:lnTo>
                  <a:lnTo>
                    <a:pt x="855904" y="421259"/>
                  </a:lnTo>
                  <a:lnTo>
                    <a:pt x="851147" y="418088"/>
                  </a:lnTo>
                  <a:cubicBezTo>
                    <a:pt x="783453" y="528091"/>
                    <a:pt x="770758" y="561939"/>
                    <a:pt x="758067" y="591553"/>
                  </a:cubicBezTo>
                  <a:lnTo>
                    <a:pt x="724221" y="625399"/>
                  </a:lnTo>
                  <a:lnTo>
                    <a:pt x="719989" y="629102"/>
                  </a:lnTo>
                  <a:lnTo>
                    <a:pt x="719798" y="629253"/>
                  </a:lnTo>
                  <a:lnTo>
                    <a:pt x="681911" y="655019"/>
                  </a:lnTo>
                  <a:lnTo>
                    <a:pt x="681729" y="659070"/>
                  </a:lnTo>
                  <a:close/>
                  <a:moveTo>
                    <a:pt x="597990" y="1025570"/>
                  </a:moveTo>
                  <a:lnTo>
                    <a:pt x="598190" y="1024980"/>
                  </a:lnTo>
                  <a:lnTo>
                    <a:pt x="595885" y="1024518"/>
                  </a:lnTo>
                  <a:close/>
                  <a:moveTo>
                    <a:pt x="2119992" y="6660069"/>
                  </a:moveTo>
                  <a:lnTo>
                    <a:pt x="2120414" y="6658670"/>
                  </a:lnTo>
                  <a:lnTo>
                    <a:pt x="2111615" y="6649866"/>
                  </a:lnTo>
                  <a:close/>
                  <a:moveTo>
                    <a:pt x="1743929" y="6858000"/>
                  </a:moveTo>
                  <a:lnTo>
                    <a:pt x="1672367" y="6858000"/>
                  </a:lnTo>
                  <a:lnTo>
                    <a:pt x="1638095" y="6819444"/>
                  </a:lnTo>
                  <a:cubicBezTo>
                    <a:pt x="1642324" y="6810982"/>
                    <a:pt x="1684633" y="6836368"/>
                    <a:pt x="1663481" y="6785597"/>
                  </a:cubicBezTo>
                  <a:close/>
                  <a:moveTo>
                    <a:pt x="1901513" y="6858000"/>
                  </a:moveTo>
                  <a:lnTo>
                    <a:pt x="1795034" y="6858000"/>
                  </a:lnTo>
                  <a:lnTo>
                    <a:pt x="1731171" y="6781364"/>
                  </a:lnTo>
                  <a:lnTo>
                    <a:pt x="1698079" y="6745264"/>
                  </a:lnTo>
                  <a:lnTo>
                    <a:pt x="1793828" y="6858000"/>
                  </a:lnTo>
                  <a:lnTo>
                    <a:pt x="1748158" y="6858000"/>
                  </a:lnTo>
                  <a:lnTo>
                    <a:pt x="1667709" y="6785597"/>
                  </a:lnTo>
                  <a:cubicBezTo>
                    <a:pt x="1638095" y="6747517"/>
                    <a:pt x="1604248" y="6709441"/>
                    <a:pt x="1574630" y="6671360"/>
                  </a:cubicBezTo>
                  <a:cubicBezTo>
                    <a:pt x="1545015" y="6633284"/>
                    <a:pt x="1515397" y="6590975"/>
                    <a:pt x="1485783" y="6552895"/>
                  </a:cubicBezTo>
                  <a:cubicBezTo>
                    <a:pt x="1498473" y="6540204"/>
                    <a:pt x="1540782" y="6561357"/>
                    <a:pt x="1595786" y="6624823"/>
                  </a:cubicBezTo>
                  <a:lnTo>
                    <a:pt x="1601188" y="6631183"/>
                  </a:lnTo>
                  <a:lnTo>
                    <a:pt x="1651314" y="6642275"/>
                  </a:lnTo>
                  <a:cubicBezTo>
                    <a:pt x="1677228" y="6659727"/>
                    <a:pt x="1712133" y="6692517"/>
                    <a:pt x="1765018" y="6747517"/>
                  </a:cubicBezTo>
                  <a:cubicBezTo>
                    <a:pt x="1792520" y="6770788"/>
                    <a:pt x="1821079" y="6793001"/>
                    <a:pt x="1848052" y="6814155"/>
                  </a:cubicBezTo>
                  <a:close/>
                  <a:moveTo>
                    <a:pt x="8262739" y="6858000"/>
                  </a:moveTo>
                  <a:lnTo>
                    <a:pt x="2188465" y="6858000"/>
                  </a:lnTo>
                  <a:lnTo>
                    <a:pt x="2116185" y="6794059"/>
                  </a:lnTo>
                  <a:cubicBezTo>
                    <a:pt x="2090800" y="6768673"/>
                    <a:pt x="2023105" y="6743288"/>
                    <a:pt x="1976568" y="6679826"/>
                  </a:cubicBezTo>
                  <a:cubicBezTo>
                    <a:pt x="1904640" y="6603670"/>
                    <a:pt x="1845407" y="6531743"/>
                    <a:pt x="1773484" y="6455586"/>
                  </a:cubicBezTo>
                  <a:lnTo>
                    <a:pt x="1759550" y="6412038"/>
                  </a:lnTo>
                  <a:lnTo>
                    <a:pt x="1718480" y="6370968"/>
                  </a:lnTo>
                  <a:cubicBezTo>
                    <a:pt x="1671943" y="6324431"/>
                    <a:pt x="1625400" y="6273660"/>
                    <a:pt x="1578863" y="6218656"/>
                  </a:cubicBezTo>
                  <a:cubicBezTo>
                    <a:pt x="1570401" y="6189042"/>
                    <a:pt x="1506935" y="6108652"/>
                    <a:pt x="1561939" y="6142499"/>
                  </a:cubicBezTo>
                  <a:cubicBezTo>
                    <a:pt x="1540782" y="6117114"/>
                    <a:pt x="1523859" y="6087500"/>
                    <a:pt x="1506935" y="6066343"/>
                  </a:cubicBezTo>
                  <a:lnTo>
                    <a:pt x="1500383" y="6056069"/>
                  </a:lnTo>
                  <a:lnTo>
                    <a:pt x="1435007" y="6011339"/>
                  </a:lnTo>
                  <a:cubicBezTo>
                    <a:pt x="1384237" y="5952106"/>
                    <a:pt x="1341928" y="5888645"/>
                    <a:pt x="1308080" y="5829412"/>
                  </a:cubicBezTo>
                  <a:cubicBezTo>
                    <a:pt x="1274233" y="5765947"/>
                    <a:pt x="1248848" y="5706714"/>
                    <a:pt x="1236157" y="5660176"/>
                  </a:cubicBezTo>
                  <a:lnTo>
                    <a:pt x="1227695" y="5660176"/>
                  </a:lnTo>
                  <a:cubicBezTo>
                    <a:pt x="1193848" y="5600944"/>
                    <a:pt x="1160001" y="5537482"/>
                    <a:pt x="1130387" y="5474016"/>
                  </a:cubicBezTo>
                  <a:cubicBezTo>
                    <a:pt x="1100768" y="5410555"/>
                    <a:pt x="1066921" y="5351322"/>
                    <a:pt x="1037307" y="5287856"/>
                  </a:cubicBezTo>
                  <a:cubicBezTo>
                    <a:pt x="1003460" y="5215933"/>
                    <a:pt x="969612" y="5144006"/>
                    <a:pt x="939994" y="5072083"/>
                  </a:cubicBezTo>
                  <a:cubicBezTo>
                    <a:pt x="910380" y="5000155"/>
                    <a:pt x="880761" y="4923999"/>
                    <a:pt x="851147" y="4852075"/>
                  </a:cubicBezTo>
                  <a:lnTo>
                    <a:pt x="898733" y="4922927"/>
                  </a:lnTo>
                  <a:lnTo>
                    <a:pt x="898752" y="4922958"/>
                  </a:lnTo>
                  <a:lnTo>
                    <a:pt x="939994" y="5000155"/>
                  </a:lnTo>
                  <a:cubicBezTo>
                    <a:pt x="965379" y="5055159"/>
                    <a:pt x="990765" y="5114392"/>
                    <a:pt x="1028845" y="5186315"/>
                  </a:cubicBezTo>
                  <a:cubicBezTo>
                    <a:pt x="1045769" y="5211700"/>
                    <a:pt x="1049997" y="5254009"/>
                    <a:pt x="1058459" y="5287856"/>
                  </a:cubicBezTo>
                  <a:lnTo>
                    <a:pt x="1070701" y="5305806"/>
                  </a:lnTo>
                  <a:lnTo>
                    <a:pt x="1055634" y="5227473"/>
                  </a:lnTo>
                  <a:lnTo>
                    <a:pt x="1016346" y="5156168"/>
                  </a:lnTo>
                  <a:lnTo>
                    <a:pt x="952391" y="5012357"/>
                  </a:lnTo>
                  <a:lnTo>
                    <a:pt x="898752" y="4922958"/>
                  </a:lnTo>
                  <a:lnTo>
                    <a:pt x="898743" y="4922942"/>
                  </a:lnTo>
                  <a:lnTo>
                    <a:pt x="898733" y="4922927"/>
                  </a:lnTo>
                  <a:lnTo>
                    <a:pt x="876528" y="4885918"/>
                  </a:lnTo>
                  <a:cubicBezTo>
                    <a:pt x="846914" y="4801300"/>
                    <a:pt x="813067" y="4716683"/>
                    <a:pt x="783448" y="4632064"/>
                  </a:cubicBezTo>
                  <a:lnTo>
                    <a:pt x="703703" y="4371836"/>
                  </a:lnTo>
                  <a:lnTo>
                    <a:pt x="677518" y="4295977"/>
                  </a:lnTo>
                  <a:cubicBezTo>
                    <a:pt x="633148" y="4146823"/>
                    <a:pt x="595032" y="3994972"/>
                    <a:pt x="563468" y="3840737"/>
                  </a:cubicBezTo>
                  <a:lnTo>
                    <a:pt x="513030" y="3510255"/>
                  </a:lnTo>
                  <a:lnTo>
                    <a:pt x="512670" y="3519338"/>
                  </a:lnTo>
                  <a:cubicBezTo>
                    <a:pt x="512670" y="3540495"/>
                    <a:pt x="512670" y="3557419"/>
                    <a:pt x="516903" y="3587033"/>
                  </a:cubicBezTo>
                  <a:cubicBezTo>
                    <a:pt x="525365" y="3637804"/>
                    <a:pt x="533827" y="3688575"/>
                    <a:pt x="538056" y="3743579"/>
                  </a:cubicBezTo>
                  <a:cubicBezTo>
                    <a:pt x="546518" y="3798579"/>
                    <a:pt x="554979" y="3853583"/>
                    <a:pt x="563441" y="3904353"/>
                  </a:cubicBezTo>
                  <a:cubicBezTo>
                    <a:pt x="542289" y="3866273"/>
                    <a:pt x="533827" y="3815502"/>
                    <a:pt x="521132" y="3764731"/>
                  </a:cubicBezTo>
                  <a:cubicBezTo>
                    <a:pt x="512670" y="3709731"/>
                    <a:pt x="504209" y="3650499"/>
                    <a:pt x="491518" y="3587033"/>
                  </a:cubicBezTo>
                  <a:cubicBezTo>
                    <a:pt x="470361" y="3587033"/>
                    <a:pt x="466133" y="3587033"/>
                    <a:pt x="457671" y="3587033"/>
                  </a:cubicBezTo>
                  <a:cubicBezTo>
                    <a:pt x="453438" y="3540495"/>
                    <a:pt x="449209" y="3498186"/>
                    <a:pt x="436514" y="3426258"/>
                  </a:cubicBezTo>
                  <a:cubicBezTo>
                    <a:pt x="428052" y="3392411"/>
                    <a:pt x="415362" y="3358564"/>
                    <a:pt x="406900" y="3324717"/>
                  </a:cubicBezTo>
                  <a:cubicBezTo>
                    <a:pt x="398438" y="3290869"/>
                    <a:pt x="389976" y="3257022"/>
                    <a:pt x="381515" y="3227408"/>
                  </a:cubicBezTo>
                  <a:cubicBezTo>
                    <a:pt x="356129" y="3197790"/>
                    <a:pt x="334972" y="3176637"/>
                    <a:pt x="309587" y="3151252"/>
                  </a:cubicBezTo>
                  <a:cubicBezTo>
                    <a:pt x="301125" y="3151252"/>
                    <a:pt x="296896" y="3151252"/>
                    <a:pt x="288435" y="3151252"/>
                  </a:cubicBezTo>
                  <a:cubicBezTo>
                    <a:pt x="279973" y="3125866"/>
                    <a:pt x="271511" y="3087786"/>
                    <a:pt x="267278" y="3045477"/>
                  </a:cubicBezTo>
                  <a:cubicBezTo>
                    <a:pt x="263049" y="3003168"/>
                    <a:pt x="258816" y="2956630"/>
                    <a:pt x="258816" y="2910088"/>
                  </a:cubicBezTo>
                  <a:cubicBezTo>
                    <a:pt x="258816" y="2821242"/>
                    <a:pt x="263049" y="2740852"/>
                    <a:pt x="275740" y="2719700"/>
                  </a:cubicBezTo>
                  <a:cubicBezTo>
                    <a:pt x="279973" y="2694315"/>
                    <a:pt x="279973" y="2673158"/>
                    <a:pt x="284202" y="2652006"/>
                  </a:cubicBezTo>
                  <a:lnTo>
                    <a:pt x="298611" y="2605575"/>
                  </a:lnTo>
                  <a:lnTo>
                    <a:pt x="291606" y="2499693"/>
                  </a:lnTo>
                  <a:cubicBezTo>
                    <a:pt x="292663" y="2446808"/>
                    <a:pt x="296892" y="2391804"/>
                    <a:pt x="301125" y="2343147"/>
                  </a:cubicBezTo>
                  <a:lnTo>
                    <a:pt x="318049" y="2311419"/>
                  </a:lnTo>
                  <a:lnTo>
                    <a:pt x="318049" y="2292377"/>
                  </a:lnTo>
                  <a:cubicBezTo>
                    <a:pt x="309587" y="2317762"/>
                    <a:pt x="296896" y="2334686"/>
                    <a:pt x="284202" y="2355842"/>
                  </a:cubicBezTo>
                  <a:cubicBezTo>
                    <a:pt x="275740" y="2338919"/>
                    <a:pt x="263049" y="2330457"/>
                    <a:pt x="254587" y="2313533"/>
                  </a:cubicBezTo>
                  <a:cubicBezTo>
                    <a:pt x="237664" y="2288148"/>
                    <a:pt x="241892" y="2059679"/>
                    <a:pt x="199583" y="2237377"/>
                  </a:cubicBezTo>
                  <a:lnTo>
                    <a:pt x="189536" y="2177087"/>
                  </a:lnTo>
                  <a:lnTo>
                    <a:pt x="186893" y="2182373"/>
                  </a:lnTo>
                  <a:cubicBezTo>
                    <a:pt x="182660" y="2237377"/>
                    <a:pt x="174198" y="2296610"/>
                    <a:pt x="169969" y="2351609"/>
                  </a:cubicBezTo>
                  <a:cubicBezTo>
                    <a:pt x="165736" y="2406613"/>
                    <a:pt x="157274" y="2465846"/>
                    <a:pt x="157274" y="2520845"/>
                  </a:cubicBezTo>
                  <a:cubicBezTo>
                    <a:pt x="153046" y="2563154"/>
                    <a:pt x="148813" y="2609697"/>
                    <a:pt x="144584" y="2652006"/>
                  </a:cubicBezTo>
                  <a:lnTo>
                    <a:pt x="144584" y="2922779"/>
                  </a:lnTo>
                  <a:cubicBezTo>
                    <a:pt x="144584" y="2969321"/>
                    <a:pt x="144584" y="3015859"/>
                    <a:pt x="148813" y="3062401"/>
                  </a:cubicBezTo>
                  <a:cubicBezTo>
                    <a:pt x="153046" y="3108938"/>
                    <a:pt x="157274" y="3155481"/>
                    <a:pt x="157274" y="3202018"/>
                  </a:cubicBezTo>
                  <a:cubicBezTo>
                    <a:pt x="140351" y="3206251"/>
                    <a:pt x="144584" y="3362793"/>
                    <a:pt x="119198" y="3333179"/>
                  </a:cubicBezTo>
                  <a:cubicBezTo>
                    <a:pt x="114965" y="3333179"/>
                    <a:pt x="114965" y="3333179"/>
                    <a:pt x="110737" y="3333179"/>
                  </a:cubicBezTo>
                  <a:cubicBezTo>
                    <a:pt x="85351" y="3240099"/>
                    <a:pt x="85351" y="3159709"/>
                    <a:pt x="85351" y="3079324"/>
                  </a:cubicBezTo>
                  <a:cubicBezTo>
                    <a:pt x="85351" y="2998935"/>
                    <a:pt x="98042" y="2918550"/>
                    <a:pt x="85351" y="2817009"/>
                  </a:cubicBezTo>
                  <a:cubicBezTo>
                    <a:pt x="89580" y="2745081"/>
                    <a:pt x="98042" y="2681620"/>
                    <a:pt x="106504" y="2613925"/>
                  </a:cubicBezTo>
                  <a:lnTo>
                    <a:pt x="144566" y="2651983"/>
                  </a:lnTo>
                  <a:lnTo>
                    <a:pt x="110737" y="2609697"/>
                  </a:lnTo>
                  <a:cubicBezTo>
                    <a:pt x="102275" y="2567388"/>
                    <a:pt x="102275" y="2520845"/>
                    <a:pt x="102275" y="2457384"/>
                  </a:cubicBezTo>
                  <a:cubicBezTo>
                    <a:pt x="102275" y="2393918"/>
                    <a:pt x="106504" y="2317762"/>
                    <a:pt x="110737" y="2224682"/>
                  </a:cubicBezTo>
                  <a:cubicBezTo>
                    <a:pt x="110737" y="2203530"/>
                    <a:pt x="114965" y="2182373"/>
                    <a:pt x="114965" y="2161221"/>
                  </a:cubicBezTo>
                  <a:cubicBezTo>
                    <a:pt x="119198" y="2127373"/>
                    <a:pt x="123427" y="2089293"/>
                    <a:pt x="127660" y="2055446"/>
                  </a:cubicBezTo>
                  <a:cubicBezTo>
                    <a:pt x="144584" y="1996213"/>
                    <a:pt x="161508" y="1924290"/>
                    <a:pt x="178431" y="1865057"/>
                  </a:cubicBezTo>
                  <a:lnTo>
                    <a:pt x="203728" y="1738579"/>
                  </a:lnTo>
                  <a:lnTo>
                    <a:pt x="195355" y="1708512"/>
                  </a:lnTo>
                  <a:cubicBezTo>
                    <a:pt x="186893" y="1763516"/>
                    <a:pt x="174198" y="1814287"/>
                    <a:pt x="165736" y="1877748"/>
                  </a:cubicBezTo>
                  <a:cubicBezTo>
                    <a:pt x="148813" y="1936981"/>
                    <a:pt x="131889" y="2008908"/>
                    <a:pt x="114965" y="2068141"/>
                  </a:cubicBezTo>
                  <a:cubicBezTo>
                    <a:pt x="110737" y="2101988"/>
                    <a:pt x="106504" y="2140064"/>
                    <a:pt x="102275" y="2173911"/>
                  </a:cubicBezTo>
                  <a:cubicBezTo>
                    <a:pt x="102275" y="2195068"/>
                    <a:pt x="98042" y="2216220"/>
                    <a:pt x="98042" y="2237377"/>
                  </a:cubicBezTo>
                  <a:cubicBezTo>
                    <a:pt x="98042" y="2330457"/>
                    <a:pt x="93813" y="2406613"/>
                    <a:pt x="89580" y="2470075"/>
                  </a:cubicBezTo>
                  <a:cubicBezTo>
                    <a:pt x="89580" y="2533540"/>
                    <a:pt x="93813" y="2580078"/>
                    <a:pt x="98042" y="2622387"/>
                  </a:cubicBezTo>
                  <a:cubicBezTo>
                    <a:pt x="89580" y="2694315"/>
                    <a:pt x="81118" y="2757776"/>
                    <a:pt x="76889" y="2825470"/>
                  </a:cubicBezTo>
                  <a:cubicBezTo>
                    <a:pt x="89580" y="2927012"/>
                    <a:pt x="76889" y="3007401"/>
                    <a:pt x="76889" y="3087786"/>
                  </a:cubicBezTo>
                  <a:cubicBezTo>
                    <a:pt x="76889" y="3168175"/>
                    <a:pt x="76889" y="3248560"/>
                    <a:pt x="102275" y="3341640"/>
                  </a:cubicBezTo>
                  <a:cubicBezTo>
                    <a:pt x="102275" y="3341640"/>
                    <a:pt x="106504" y="3341640"/>
                    <a:pt x="110737" y="3341640"/>
                  </a:cubicBezTo>
                  <a:cubicBezTo>
                    <a:pt x="127660" y="3422030"/>
                    <a:pt x="144584" y="3498186"/>
                    <a:pt x="165736" y="3582805"/>
                  </a:cubicBezTo>
                  <a:cubicBezTo>
                    <a:pt x="169969" y="3637804"/>
                    <a:pt x="182660" y="3688575"/>
                    <a:pt x="195355" y="3781654"/>
                  </a:cubicBezTo>
                  <a:cubicBezTo>
                    <a:pt x="216507" y="3853583"/>
                    <a:pt x="237664" y="3921276"/>
                    <a:pt x="258816" y="3984738"/>
                  </a:cubicBezTo>
                  <a:cubicBezTo>
                    <a:pt x="268335" y="4105318"/>
                    <a:pt x="332592" y="4297296"/>
                    <a:pt x="358772" y="4421447"/>
                  </a:cubicBezTo>
                  <a:lnTo>
                    <a:pt x="367496" y="4505141"/>
                  </a:lnTo>
                  <a:lnTo>
                    <a:pt x="385748" y="4505141"/>
                  </a:lnTo>
                  <a:cubicBezTo>
                    <a:pt x="432285" y="4623607"/>
                    <a:pt x="461904" y="4687068"/>
                    <a:pt x="478828" y="4729378"/>
                  </a:cubicBezTo>
                  <a:cubicBezTo>
                    <a:pt x="499980" y="4771686"/>
                    <a:pt x="508442" y="4801305"/>
                    <a:pt x="512675" y="4843614"/>
                  </a:cubicBezTo>
                  <a:cubicBezTo>
                    <a:pt x="495751" y="4839381"/>
                    <a:pt x="474594" y="4797072"/>
                    <a:pt x="449209" y="4746301"/>
                  </a:cubicBezTo>
                  <a:cubicBezTo>
                    <a:pt x="423824" y="4695530"/>
                    <a:pt x="402671" y="4636297"/>
                    <a:pt x="381515" y="4593989"/>
                  </a:cubicBezTo>
                  <a:cubicBezTo>
                    <a:pt x="360362" y="4538989"/>
                    <a:pt x="398438" y="4691301"/>
                    <a:pt x="377286" y="4636297"/>
                  </a:cubicBezTo>
                  <a:lnTo>
                    <a:pt x="340476" y="4522194"/>
                  </a:lnTo>
                  <a:lnTo>
                    <a:pt x="313820" y="4526294"/>
                  </a:lnTo>
                  <a:cubicBezTo>
                    <a:pt x="301125" y="4492447"/>
                    <a:pt x="292663" y="4458599"/>
                    <a:pt x="284202" y="4428985"/>
                  </a:cubicBezTo>
                  <a:cubicBezTo>
                    <a:pt x="237664" y="4382443"/>
                    <a:pt x="203817" y="4285134"/>
                    <a:pt x="182660" y="4196284"/>
                  </a:cubicBezTo>
                  <a:cubicBezTo>
                    <a:pt x="161508" y="4107436"/>
                    <a:pt x="144584" y="4022818"/>
                    <a:pt x="119198" y="3988971"/>
                  </a:cubicBezTo>
                  <a:cubicBezTo>
                    <a:pt x="98042" y="3912815"/>
                    <a:pt x="98042" y="3832426"/>
                    <a:pt x="114965" y="3815502"/>
                  </a:cubicBezTo>
                  <a:cubicBezTo>
                    <a:pt x="106504" y="3747807"/>
                    <a:pt x="93813" y="3680113"/>
                    <a:pt x="85351" y="3612418"/>
                  </a:cubicBezTo>
                  <a:cubicBezTo>
                    <a:pt x="76889" y="3544724"/>
                    <a:pt x="72656" y="3477029"/>
                    <a:pt x="64195" y="3409335"/>
                  </a:cubicBezTo>
                  <a:cubicBezTo>
                    <a:pt x="47271" y="3358564"/>
                    <a:pt x="30347" y="3316255"/>
                    <a:pt x="17657" y="3261255"/>
                  </a:cubicBezTo>
                  <a:cubicBezTo>
                    <a:pt x="-7729" y="2973554"/>
                    <a:pt x="-11962" y="2639311"/>
                    <a:pt x="47271" y="2474308"/>
                  </a:cubicBezTo>
                  <a:cubicBezTo>
                    <a:pt x="51504" y="2402380"/>
                    <a:pt x="55733" y="2313533"/>
                    <a:pt x="76889" y="2271224"/>
                  </a:cubicBezTo>
                  <a:cubicBezTo>
                    <a:pt x="68428" y="2233144"/>
                    <a:pt x="59966" y="2199297"/>
                    <a:pt x="51504" y="2161221"/>
                  </a:cubicBezTo>
                  <a:cubicBezTo>
                    <a:pt x="59966" y="2089293"/>
                    <a:pt x="51504" y="1924290"/>
                    <a:pt x="102275" y="1856596"/>
                  </a:cubicBezTo>
                  <a:cubicBezTo>
                    <a:pt x="106504" y="1826977"/>
                    <a:pt x="110737" y="1805825"/>
                    <a:pt x="114965" y="1784668"/>
                  </a:cubicBezTo>
                  <a:cubicBezTo>
                    <a:pt x="123427" y="1678898"/>
                    <a:pt x="131889" y="1606970"/>
                    <a:pt x="148813" y="1539276"/>
                  </a:cubicBezTo>
                  <a:cubicBezTo>
                    <a:pt x="178431" y="1480043"/>
                    <a:pt x="216507" y="1382734"/>
                    <a:pt x="237664" y="1361578"/>
                  </a:cubicBezTo>
                  <a:cubicBezTo>
                    <a:pt x="258816" y="1408120"/>
                    <a:pt x="208045" y="1526585"/>
                    <a:pt x="216507" y="1602741"/>
                  </a:cubicBezTo>
                  <a:lnTo>
                    <a:pt x="237655" y="1561405"/>
                  </a:lnTo>
                  <a:lnTo>
                    <a:pt x="250354" y="1462591"/>
                  </a:lnTo>
                  <a:cubicBezTo>
                    <a:pt x="258816" y="1417634"/>
                    <a:pt x="265164" y="1376387"/>
                    <a:pt x="254587" y="1353116"/>
                  </a:cubicBezTo>
                  <a:cubicBezTo>
                    <a:pt x="267278" y="1302345"/>
                    <a:pt x="279973" y="1264264"/>
                    <a:pt x="292663" y="1213494"/>
                  </a:cubicBezTo>
                  <a:cubicBezTo>
                    <a:pt x="313820" y="1145799"/>
                    <a:pt x="330744" y="1073876"/>
                    <a:pt x="351896" y="1001948"/>
                  </a:cubicBezTo>
                  <a:cubicBezTo>
                    <a:pt x="373053" y="930025"/>
                    <a:pt x="398438" y="858098"/>
                    <a:pt x="423824" y="786174"/>
                  </a:cubicBezTo>
                  <a:lnTo>
                    <a:pt x="429212" y="780111"/>
                  </a:lnTo>
                  <a:lnTo>
                    <a:pt x="461904" y="608476"/>
                  </a:lnTo>
                  <a:cubicBezTo>
                    <a:pt x="478828" y="574629"/>
                    <a:pt x="495751" y="528087"/>
                    <a:pt x="508442" y="485778"/>
                  </a:cubicBezTo>
                  <a:cubicBezTo>
                    <a:pt x="525365" y="443469"/>
                    <a:pt x="546522" y="409622"/>
                    <a:pt x="563446" y="384236"/>
                  </a:cubicBezTo>
                  <a:cubicBezTo>
                    <a:pt x="601522" y="312313"/>
                    <a:pt x="631140" y="240385"/>
                    <a:pt x="673449" y="172691"/>
                  </a:cubicBezTo>
                  <a:cubicBezTo>
                    <a:pt x="688256" y="138844"/>
                    <a:pt x="703064" y="108171"/>
                    <a:pt x="717872" y="77497"/>
                  </a:cubicBezTo>
                  <a:lnTo>
                    <a:pt x="754037" y="0"/>
                  </a:lnTo>
                  <a:lnTo>
                    <a:pt x="1028695" y="0"/>
                  </a:lnTo>
                  <a:lnTo>
                    <a:pt x="986532" y="71149"/>
                  </a:lnTo>
                  <a:cubicBezTo>
                    <a:pt x="944223" y="151539"/>
                    <a:pt x="901914" y="231924"/>
                    <a:pt x="859605" y="308080"/>
                  </a:cubicBezTo>
                  <a:lnTo>
                    <a:pt x="721537" y="525648"/>
                  </a:lnTo>
                  <a:lnTo>
                    <a:pt x="719987" y="532320"/>
                  </a:lnTo>
                  <a:cubicBezTo>
                    <a:pt x="703063" y="570400"/>
                    <a:pt x="690368" y="616938"/>
                    <a:pt x="673445" y="659247"/>
                  </a:cubicBezTo>
                  <a:cubicBezTo>
                    <a:pt x="660754" y="684633"/>
                    <a:pt x="652292" y="701556"/>
                    <a:pt x="639597" y="718480"/>
                  </a:cubicBezTo>
                  <a:lnTo>
                    <a:pt x="631136" y="726942"/>
                  </a:lnTo>
                  <a:lnTo>
                    <a:pt x="593588" y="851755"/>
                  </a:lnTo>
                  <a:cubicBezTo>
                    <a:pt x="586717" y="883487"/>
                    <a:pt x="584598" y="906758"/>
                    <a:pt x="584598" y="925796"/>
                  </a:cubicBezTo>
                  <a:cubicBezTo>
                    <a:pt x="584598" y="963872"/>
                    <a:pt x="588827" y="989258"/>
                    <a:pt x="576136" y="1031567"/>
                  </a:cubicBezTo>
                  <a:cubicBezTo>
                    <a:pt x="554979" y="1090800"/>
                    <a:pt x="538056" y="1145803"/>
                    <a:pt x="516903" y="1205036"/>
                  </a:cubicBezTo>
                  <a:cubicBezTo>
                    <a:pt x="499980" y="1264269"/>
                    <a:pt x="478823" y="1319268"/>
                    <a:pt x="461900" y="1378501"/>
                  </a:cubicBezTo>
                  <a:cubicBezTo>
                    <a:pt x="440747" y="1467352"/>
                    <a:pt x="423824" y="1547737"/>
                    <a:pt x="402667" y="1632355"/>
                  </a:cubicBezTo>
                  <a:cubicBezTo>
                    <a:pt x="389976" y="1712745"/>
                    <a:pt x="381515" y="1788901"/>
                    <a:pt x="368820" y="1865057"/>
                  </a:cubicBezTo>
                  <a:cubicBezTo>
                    <a:pt x="356129" y="1941214"/>
                    <a:pt x="351896" y="2021599"/>
                    <a:pt x="347667" y="2097755"/>
                  </a:cubicBezTo>
                  <a:cubicBezTo>
                    <a:pt x="360358" y="2038522"/>
                    <a:pt x="368820" y="1983523"/>
                    <a:pt x="377281" y="1936981"/>
                  </a:cubicBezTo>
                  <a:lnTo>
                    <a:pt x="380027" y="1923713"/>
                  </a:lnTo>
                  <a:lnTo>
                    <a:pt x="385743" y="1860824"/>
                  </a:lnTo>
                  <a:cubicBezTo>
                    <a:pt x="398438" y="1784668"/>
                    <a:pt x="406900" y="1704283"/>
                    <a:pt x="419590" y="1628127"/>
                  </a:cubicBezTo>
                  <a:lnTo>
                    <a:pt x="430189" y="1631662"/>
                  </a:lnTo>
                  <a:lnTo>
                    <a:pt x="431108" y="1627731"/>
                  </a:lnTo>
                  <a:lnTo>
                    <a:pt x="419595" y="1623894"/>
                  </a:lnTo>
                  <a:cubicBezTo>
                    <a:pt x="440747" y="1535042"/>
                    <a:pt x="457671" y="1454657"/>
                    <a:pt x="478828" y="1370039"/>
                  </a:cubicBezTo>
                  <a:cubicBezTo>
                    <a:pt x="495751" y="1310807"/>
                    <a:pt x="512675" y="1251574"/>
                    <a:pt x="533827" y="1196570"/>
                  </a:cubicBezTo>
                  <a:lnTo>
                    <a:pt x="592789" y="1023900"/>
                  </a:lnTo>
                  <a:lnTo>
                    <a:pt x="588831" y="1023105"/>
                  </a:lnTo>
                  <a:cubicBezTo>
                    <a:pt x="601522" y="980796"/>
                    <a:pt x="597293" y="955411"/>
                    <a:pt x="597293" y="917335"/>
                  </a:cubicBezTo>
                  <a:cubicBezTo>
                    <a:pt x="597293" y="879254"/>
                    <a:pt x="601522" y="824255"/>
                    <a:pt x="643831" y="718480"/>
                  </a:cubicBezTo>
                  <a:cubicBezTo>
                    <a:pt x="652292" y="701556"/>
                    <a:pt x="660754" y="680404"/>
                    <a:pt x="677678" y="659247"/>
                  </a:cubicBezTo>
                  <a:lnTo>
                    <a:pt x="678815" y="656156"/>
                  </a:lnTo>
                  <a:lnTo>
                    <a:pt x="724220" y="532320"/>
                  </a:lnTo>
                  <a:cubicBezTo>
                    <a:pt x="770758" y="456164"/>
                    <a:pt x="813067" y="384241"/>
                    <a:pt x="863838" y="312313"/>
                  </a:cubicBezTo>
                  <a:cubicBezTo>
                    <a:pt x="906147" y="231928"/>
                    <a:pt x="944227" y="151539"/>
                    <a:pt x="990765" y="75382"/>
                  </a:cubicBezTo>
                  <a:cubicBezTo>
                    <a:pt x="1001343" y="58459"/>
                    <a:pt x="1012979" y="39420"/>
                    <a:pt x="1024614" y="19852"/>
                  </a:cubicBezTo>
                  <a:lnTo>
                    <a:pt x="1036060" y="0"/>
                  </a:lnTo>
                  <a:lnTo>
                    <a:pt x="1150037" y="0"/>
                  </a:lnTo>
                  <a:lnTo>
                    <a:pt x="1075780" y="117164"/>
                  </a:lnTo>
                  <a:cubicBezTo>
                    <a:pt x="975428" y="298827"/>
                    <a:pt x="897685" y="499531"/>
                    <a:pt x="796143" y="655019"/>
                  </a:cubicBezTo>
                  <a:cubicBezTo>
                    <a:pt x="779220" y="710018"/>
                    <a:pt x="762296" y="769251"/>
                    <a:pt x="741139" y="828483"/>
                  </a:cubicBezTo>
                  <a:cubicBezTo>
                    <a:pt x="719987" y="887716"/>
                    <a:pt x="707292" y="946949"/>
                    <a:pt x="690368" y="1006181"/>
                  </a:cubicBezTo>
                  <a:cubicBezTo>
                    <a:pt x="648059" y="1133109"/>
                    <a:pt x="584598" y="1268497"/>
                    <a:pt x="580365" y="1378501"/>
                  </a:cubicBezTo>
                  <a:cubicBezTo>
                    <a:pt x="554979" y="1463119"/>
                    <a:pt x="529594" y="1547737"/>
                    <a:pt x="508442" y="1632355"/>
                  </a:cubicBezTo>
                  <a:cubicBezTo>
                    <a:pt x="495747" y="1695821"/>
                    <a:pt x="487285" y="1759283"/>
                    <a:pt x="474594" y="1822748"/>
                  </a:cubicBezTo>
                  <a:lnTo>
                    <a:pt x="457671" y="1920057"/>
                  </a:lnTo>
                  <a:cubicBezTo>
                    <a:pt x="453438" y="1953904"/>
                    <a:pt x="449209" y="1983523"/>
                    <a:pt x="444976" y="2017370"/>
                  </a:cubicBezTo>
                  <a:cubicBezTo>
                    <a:pt x="432285" y="2106217"/>
                    <a:pt x="415362" y="2190835"/>
                    <a:pt x="406900" y="2279686"/>
                  </a:cubicBezTo>
                  <a:cubicBezTo>
                    <a:pt x="402667" y="2334686"/>
                    <a:pt x="398438" y="2381228"/>
                    <a:pt x="394205" y="2440460"/>
                  </a:cubicBezTo>
                  <a:cubicBezTo>
                    <a:pt x="398438" y="2482769"/>
                    <a:pt x="406900" y="2525078"/>
                    <a:pt x="415362" y="2609697"/>
                  </a:cubicBezTo>
                  <a:lnTo>
                    <a:pt x="425276" y="2517483"/>
                  </a:lnTo>
                  <a:lnTo>
                    <a:pt x="423824" y="2486998"/>
                  </a:lnTo>
                  <a:cubicBezTo>
                    <a:pt x="428052" y="2427765"/>
                    <a:pt x="436514" y="2364300"/>
                    <a:pt x="440747" y="2309300"/>
                  </a:cubicBezTo>
                  <a:cubicBezTo>
                    <a:pt x="449209" y="2220449"/>
                    <a:pt x="466133" y="2135831"/>
                    <a:pt x="478823" y="2046984"/>
                  </a:cubicBezTo>
                  <a:lnTo>
                    <a:pt x="509024" y="2010743"/>
                  </a:lnTo>
                  <a:lnTo>
                    <a:pt x="552878" y="1717258"/>
                  </a:lnTo>
                  <a:lnTo>
                    <a:pt x="550751" y="1666203"/>
                  </a:lnTo>
                  <a:lnTo>
                    <a:pt x="592549" y="1546374"/>
                  </a:lnTo>
                  <a:lnTo>
                    <a:pt x="617419" y="1445769"/>
                  </a:lnTo>
                  <a:lnTo>
                    <a:pt x="609983" y="1463119"/>
                  </a:lnTo>
                  <a:cubicBezTo>
                    <a:pt x="601522" y="1458891"/>
                    <a:pt x="593060" y="1454657"/>
                    <a:pt x="584598" y="1454657"/>
                  </a:cubicBezTo>
                  <a:cubicBezTo>
                    <a:pt x="563441" y="1509661"/>
                    <a:pt x="542289" y="1573123"/>
                    <a:pt x="521132" y="1636589"/>
                  </a:cubicBezTo>
                  <a:cubicBezTo>
                    <a:pt x="521132" y="1666203"/>
                    <a:pt x="521132" y="1700050"/>
                    <a:pt x="525365" y="1738130"/>
                  </a:cubicBezTo>
                  <a:cubicBezTo>
                    <a:pt x="512670" y="1805825"/>
                    <a:pt x="504209" y="1865057"/>
                    <a:pt x="495747" y="1932752"/>
                  </a:cubicBezTo>
                  <a:cubicBezTo>
                    <a:pt x="495747" y="1941214"/>
                    <a:pt x="491518" y="1953904"/>
                    <a:pt x="491518" y="1966599"/>
                  </a:cubicBezTo>
                  <a:cubicBezTo>
                    <a:pt x="474594" y="1983523"/>
                    <a:pt x="466133" y="2000446"/>
                    <a:pt x="449209" y="2017370"/>
                  </a:cubicBezTo>
                  <a:cubicBezTo>
                    <a:pt x="453438" y="1983523"/>
                    <a:pt x="457671" y="1953904"/>
                    <a:pt x="461900" y="1920057"/>
                  </a:cubicBezTo>
                  <a:lnTo>
                    <a:pt x="478823" y="1822748"/>
                  </a:lnTo>
                  <a:cubicBezTo>
                    <a:pt x="491518" y="1759283"/>
                    <a:pt x="499980" y="1695821"/>
                    <a:pt x="512670" y="1632355"/>
                  </a:cubicBezTo>
                  <a:cubicBezTo>
                    <a:pt x="538056" y="1547737"/>
                    <a:pt x="563441" y="1463119"/>
                    <a:pt x="584598" y="1378501"/>
                  </a:cubicBezTo>
                  <a:cubicBezTo>
                    <a:pt x="588827" y="1268497"/>
                    <a:pt x="652292" y="1137342"/>
                    <a:pt x="694601" y="1006181"/>
                  </a:cubicBezTo>
                  <a:cubicBezTo>
                    <a:pt x="711525" y="946949"/>
                    <a:pt x="724216" y="887716"/>
                    <a:pt x="745372" y="828483"/>
                  </a:cubicBezTo>
                  <a:cubicBezTo>
                    <a:pt x="762296" y="769251"/>
                    <a:pt x="783448" y="714251"/>
                    <a:pt x="800372" y="655019"/>
                  </a:cubicBezTo>
                  <a:cubicBezTo>
                    <a:pt x="901914" y="499531"/>
                    <a:pt x="977278" y="298827"/>
                    <a:pt x="1078224" y="117164"/>
                  </a:cubicBezTo>
                  <a:lnTo>
                    <a:pt x="1153691" y="0"/>
                  </a:lnTo>
                  <a:lnTo>
                    <a:pt x="8262739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3">
                    <a:alpha val="71000"/>
                  </a:schemeClr>
                </a:gs>
              </a:gsLst>
              <a:path path="circle">
                <a:fillToRect r="100000" b="100000"/>
              </a:path>
              <a:tileRect l="-100000" t="-100000"/>
            </a:gra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ZA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2F8665C-2A29-4B89-BF72-3688B24AC8AC}"/>
                </a:ext>
              </a:extLst>
            </p:cNvPr>
            <p:cNvSpPr/>
            <p:nvPr userDrawn="1"/>
          </p:nvSpPr>
          <p:spPr>
            <a:xfrm rot="900000">
              <a:off x="-731331" y="24786"/>
              <a:ext cx="7308033" cy="7484336"/>
            </a:xfrm>
            <a:custGeom>
              <a:avLst/>
              <a:gdLst>
                <a:gd name="connsiteX0" fmla="*/ 6913876 w 7308033"/>
                <a:gd name="connsiteY0" fmla="*/ 5776530 h 7484336"/>
                <a:gd name="connsiteX1" fmla="*/ 6875166 w 7308033"/>
                <a:gd name="connsiteY1" fmla="*/ 5892655 h 7484336"/>
                <a:gd name="connsiteX2" fmla="*/ 6806682 w 7308033"/>
                <a:gd name="connsiteY2" fmla="*/ 6017714 h 7484336"/>
                <a:gd name="connsiteX3" fmla="*/ 6771323 w 7308033"/>
                <a:gd name="connsiteY3" fmla="*/ 6086199 h 7484336"/>
                <a:gd name="connsiteX4" fmla="*/ 6757742 w 7308033"/>
                <a:gd name="connsiteY4" fmla="*/ 6110614 h 7484336"/>
                <a:gd name="connsiteX5" fmla="*/ 6727685 w 7308033"/>
                <a:gd name="connsiteY5" fmla="*/ 6118668 h 7484336"/>
                <a:gd name="connsiteX6" fmla="*/ 6753086 w 7308033"/>
                <a:gd name="connsiteY6" fmla="*/ 6059400 h 7484336"/>
                <a:gd name="connsiteX7" fmla="*/ 6779882 w 7308033"/>
                <a:gd name="connsiteY7" fmla="*/ 6014738 h 7484336"/>
                <a:gd name="connsiteX8" fmla="*/ 6815614 w 7308033"/>
                <a:gd name="connsiteY8" fmla="*/ 5955186 h 7484336"/>
                <a:gd name="connsiteX9" fmla="*/ 6848369 w 7308033"/>
                <a:gd name="connsiteY9" fmla="*/ 5895635 h 7484336"/>
                <a:gd name="connsiteX10" fmla="*/ 6913876 w 7308033"/>
                <a:gd name="connsiteY10" fmla="*/ 5776530 h 7484336"/>
                <a:gd name="connsiteX11" fmla="*/ 6721144 w 7308033"/>
                <a:gd name="connsiteY11" fmla="*/ 5521292 h 7484336"/>
                <a:gd name="connsiteX12" fmla="*/ 6648868 w 7308033"/>
                <a:gd name="connsiteY12" fmla="*/ 5648492 h 7484336"/>
                <a:gd name="connsiteX13" fmla="*/ 6647540 w 7308033"/>
                <a:gd name="connsiteY13" fmla="*/ 5651550 h 7484336"/>
                <a:gd name="connsiteX14" fmla="*/ 6720331 w 7308033"/>
                <a:gd name="connsiteY14" fmla="*/ 5523433 h 7484336"/>
                <a:gd name="connsiteX15" fmla="*/ 7114698 w 7308033"/>
                <a:gd name="connsiteY15" fmla="*/ 4793131 h 7484336"/>
                <a:gd name="connsiteX16" fmla="*/ 7113630 w 7308033"/>
                <a:gd name="connsiteY16" fmla="*/ 4798399 h 7484336"/>
                <a:gd name="connsiteX17" fmla="*/ 7122304 w 7308033"/>
                <a:gd name="connsiteY17" fmla="*/ 4808811 h 7484336"/>
                <a:gd name="connsiteX18" fmla="*/ 7149104 w 7308033"/>
                <a:gd name="connsiteY18" fmla="*/ 4838587 h 7484336"/>
                <a:gd name="connsiteX19" fmla="*/ 7157044 w 7308033"/>
                <a:gd name="connsiteY19" fmla="*/ 4831309 h 7484336"/>
                <a:gd name="connsiteX20" fmla="*/ 7159029 w 7308033"/>
                <a:gd name="connsiteY20" fmla="*/ 4829985 h 7484336"/>
                <a:gd name="connsiteX21" fmla="*/ 7166970 w 7308033"/>
                <a:gd name="connsiteY21" fmla="*/ 4826677 h 7484336"/>
                <a:gd name="connsiteX22" fmla="*/ 7167420 w 7308033"/>
                <a:gd name="connsiteY22" fmla="*/ 4824391 h 7484336"/>
                <a:gd name="connsiteX23" fmla="*/ 7159029 w 7308033"/>
                <a:gd name="connsiteY23" fmla="*/ 4829985 h 7484336"/>
                <a:gd name="connsiteX24" fmla="*/ 7158037 w 7308033"/>
                <a:gd name="connsiteY24" fmla="*/ 4830399 h 7484336"/>
                <a:gd name="connsiteX25" fmla="*/ 7157044 w 7308033"/>
                <a:gd name="connsiteY25" fmla="*/ 4831309 h 7484336"/>
                <a:gd name="connsiteX26" fmla="*/ 7155060 w 7308033"/>
                <a:gd name="connsiteY26" fmla="*/ 4832632 h 7484336"/>
                <a:gd name="connsiteX27" fmla="*/ 7125284 w 7308033"/>
                <a:gd name="connsiteY27" fmla="*/ 4805832 h 7484336"/>
                <a:gd name="connsiteX28" fmla="*/ 7152080 w 7308033"/>
                <a:gd name="connsiteY28" fmla="*/ 4391948 h 7484336"/>
                <a:gd name="connsiteX29" fmla="*/ 7117409 w 7308033"/>
                <a:gd name="connsiteY29" fmla="*/ 4536420 h 7484336"/>
                <a:gd name="connsiteX30" fmla="*/ 7117412 w 7308033"/>
                <a:gd name="connsiteY30" fmla="*/ 4536420 h 7484336"/>
                <a:gd name="connsiteX31" fmla="*/ 7152083 w 7308033"/>
                <a:gd name="connsiteY31" fmla="*/ 4391952 h 7484336"/>
                <a:gd name="connsiteX32" fmla="*/ 7178880 w 7308033"/>
                <a:gd name="connsiteY32" fmla="*/ 4362173 h 7484336"/>
                <a:gd name="connsiteX33" fmla="*/ 7161015 w 7308033"/>
                <a:gd name="connsiteY33" fmla="*/ 4400883 h 7484336"/>
                <a:gd name="connsiteX34" fmla="*/ 7156923 w 7308033"/>
                <a:gd name="connsiteY34" fmla="*/ 4482020 h 7484336"/>
                <a:gd name="connsiteX35" fmla="*/ 7155060 w 7308033"/>
                <a:gd name="connsiteY35" fmla="*/ 4558694 h 7484336"/>
                <a:gd name="connsiteX36" fmla="*/ 7125284 w 7308033"/>
                <a:gd name="connsiteY36" fmla="*/ 4650316 h 7484336"/>
                <a:gd name="connsiteX37" fmla="*/ 7125283 w 7308033"/>
                <a:gd name="connsiteY37" fmla="*/ 4660782 h 7484336"/>
                <a:gd name="connsiteX38" fmla="*/ 7161015 w 7308033"/>
                <a:gd name="connsiteY38" fmla="*/ 4558693 h 7484336"/>
                <a:gd name="connsiteX39" fmla="*/ 7166970 w 7308033"/>
                <a:gd name="connsiteY39" fmla="*/ 4400880 h 7484336"/>
                <a:gd name="connsiteX40" fmla="*/ 7180853 w 7308033"/>
                <a:gd name="connsiteY40" fmla="*/ 4370804 h 7484336"/>
                <a:gd name="connsiteX41" fmla="*/ 7050842 w 7308033"/>
                <a:gd name="connsiteY41" fmla="*/ 4234134 h 7484336"/>
                <a:gd name="connsiteX42" fmla="*/ 7031332 w 7308033"/>
                <a:gd name="connsiteY42" fmla="*/ 4280253 h 7484336"/>
                <a:gd name="connsiteX43" fmla="*/ 7024045 w 7308033"/>
                <a:gd name="connsiteY43" fmla="*/ 4347286 h 7484336"/>
                <a:gd name="connsiteX44" fmla="*/ 7014651 w 7308033"/>
                <a:gd name="connsiteY44" fmla="*/ 4315972 h 7484336"/>
                <a:gd name="connsiteX45" fmla="*/ 7011215 w 7308033"/>
                <a:gd name="connsiteY45" fmla="*/ 4320392 h 7484336"/>
                <a:gd name="connsiteX46" fmla="*/ 7021069 w 7308033"/>
                <a:gd name="connsiteY46" fmla="*/ 4353241 h 7484336"/>
                <a:gd name="connsiteX47" fmla="*/ 7015114 w 7308033"/>
                <a:gd name="connsiteY47" fmla="*/ 4400882 h 7484336"/>
                <a:gd name="connsiteX48" fmla="*/ 7027025 w 7308033"/>
                <a:gd name="connsiteY48" fmla="*/ 4439590 h 7484336"/>
                <a:gd name="connsiteX49" fmla="*/ 7036255 w 7308033"/>
                <a:gd name="connsiteY49" fmla="*/ 4439077 h 7484336"/>
                <a:gd name="connsiteX50" fmla="*/ 7030001 w 7308033"/>
                <a:gd name="connsiteY50" fmla="*/ 4418745 h 7484336"/>
                <a:gd name="connsiteX51" fmla="*/ 7035955 w 7308033"/>
                <a:gd name="connsiteY51" fmla="*/ 4371104 h 7484336"/>
                <a:gd name="connsiteX52" fmla="*/ 7050842 w 7308033"/>
                <a:gd name="connsiteY52" fmla="*/ 4234134 h 7484336"/>
                <a:gd name="connsiteX53" fmla="*/ 7300963 w 7308033"/>
                <a:gd name="connsiteY53" fmla="*/ 4153741 h 7484336"/>
                <a:gd name="connsiteX54" fmla="*/ 7306918 w 7308033"/>
                <a:gd name="connsiteY54" fmla="*/ 4156717 h 7484336"/>
                <a:gd name="connsiteX55" fmla="*/ 7303939 w 7308033"/>
                <a:gd name="connsiteY55" fmla="*/ 4281775 h 7484336"/>
                <a:gd name="connsiteX56" fmla="*/ 7306918 w 7308033"/>
                <a:gd name="connsiteY56" fmla="*/ 4368127 h 7484336"/>
                <a:gd name="connsiteX57" fmla="*/ 7297984 w 7308033"/>
                <a:gd name="connsiteY57" fmla="*/ 4525938 h 7484336"/>
                <a:gd name="connsiteX58" fmla="*/ 7289052 w 7308033"/>
                <a:gd name="connsiteY58" fmla="*/ 4615266 h 7484336"/>
                <a:gd name="connsiteX59" fmla="*/ 7262253 w 7308033"/>
                <a:gd name="connsiteY59" fmla="*/ 4746280 h 7484336"/>
                <a:gd name="connsiteX60" fmla="*/ 7253322 w 7308033"/>
                <a:gd name="connsiteY60" fmla="*/ 4856452 h 7484336"/>
                <a:gd name="connsiteX61" fmla="*/ 7208656 w 7308033"/>
                <a:gd name="connsiteY61" fmla="*/ 5058929 h 7484336"/>
                <a:gd name="connsiteX62" fmla="*/ 7166969 w 7308033"/>
                <a:gd name="connsiteY62" fmla="*/ 5234606 h 7484336"/>
                <a:gd name="connsiteX63" fmla="*/ 7092532 w 7308033"/>
                <a:gd name="connsiteY63" fmla="*/ 5267360 h 7484336"/>
                <a:gd name="connsiteX64" fmla="*/ 7098487 w 7308033"/>
                <a:gd name="connsiteY64" fmla="*/ 5249495 h 7484336"/>
                <a:gd name="connsiteX65" fmla="*/ 7110397 w 7308033"/>
                <a:gd name="connsiteY65" fmla="*/ 5124436 h 7484336"/>
                <a:gd name="connsiteX66" fmla="*/ 7155060 w 7308033"/>
                <a:gd name="connsiteY66" fmla="*/ 4993422 h 7484336"/>
                <a:gd name="connsiteX67" fmla="*/ 7190791 w 7308033"/>
                <a:gd name="connsiteY67" fmla="*/ 4972581 h 7484336"/>
                <a:gd name="connsiteX68" fmla="*/ 7190791 w 7308033"/>
                <a:gd name="connsiteY68" fmla="*/ 4972577 h 7484336"/>
                <a:gd name="connsiteX69" fmla="*/ 7229501 w 7308033"/>
                <a:gd name="connsiteY69" fmla="*/ 4746280 h 7484336"/>
                <a:gd name="connsiteX70" fmla="*/ 7250343 w 7308033"/>
                <a:gd name="connsiteY70" fmla="*/ 4639087 h 7484336"/>
                <a:gd name="connsiteX71" fmla="*/ 7268208 w 7308033"/>
                <a:gd name="connsiteY71" fmla="*/ 4528918 h 7484336"/>
                <a:gd name="connsiteX72" fmla="*/ 7283097 w 7308033"/>
                <a:gd name="connsiteY72" fmla="*/ 4424700 h 7484336"/>
                <a:gd name="connsiteX73" fmla="*/ 7289052 w 7308033"/>
                <a:gd name="connsiteY73" fmla="*/ 4326441 h 7484336"/>
                <a:gd name="connsiteX74" fmla="*/ 7292029 w 7308033"/>
                <a:gd name="connsiteY74" fmla="*/ 4243069 h 7484336"/>
                <a:gd name="connsiteX75" fmla="*/ 7297984 w 7308033"/>
                <a:gd name="connsiteY75" fmla="*/ 4198403 h 7484336"/>
                <a:gd name="connsiteX76" fmla="*/ 7300963 w 7308033"/>
                <a:gd name="connsiteY76" fmla="*/ 4153741 h 7484336"/>
                <a:gd name="connsiteX77" fmla="*/ 4874223 w 7308033"/>
                <a:gd name="connsiteY77" fmla="*/ 452594 h 7484336"/>
                <a:gd name="connsiteX78" fmla="*/ 5026078 w 7308033"/>
                <a:gd name="connsiteY78" fmla="*/ 521077 h 7484336"/>
                <a:gd name="connsiteX79" fmla="*/ 5091585 w 7308033"/>
                <a:gd name="connsiteY79" fmla="*/ 574674 h 7484336"/>
                <a:gd name="connsiteX80" fmla="*/ 4945685 w 7308033"/>
                <a:gd name="connsiteY80" fmla="*/ 503212 h 7484336"/>
                <a:gd name="connsiteX81" fmla="*/ 4874223 w 7308033"/>
                <a:gd name="connsiteY81" fmla="*/ 452594 h 7484336"/>
                <a:gd name="connsiteX82" fmla="*/ 4379943 w 7308033"/>
                <a:gd name="connsiteY82" fmla="*/ 235228 h 7484336"/>
                <a:gd name="connsiteX83" fmla="*/ 4499046 w 7308033"/>
                <a:gd name="connsiteY83" fmla="*/ 262025 h 7484336"/>
                <a:gd name="connsiteX84" fmla="*/ 4665792 w 7308033"/>
                <a:gd name="connsiteY84" fmla="*/ 345398 h 7484336"/>
                <a:gd name="connsiteX85" fmla="*/ 4379943 w 7308033"/>
                <a:gd name="connsiteY85" fmla="*/ 235228 h 7484336"/>
                <a:gd name="connsiteX86" fmla="*/ 3998811 w 7308033"/>
                <a:gd name="connsiteY86" fmla="*/ 128035 h 7484336"/>
                <a:gd name="connsiteX87" fmla="*/ 4120890 w 7308033"/>
                <a:gd name="connsiteY87" fmla="*/ 136966 h 7484336"/>
                <a:gd name="connsiteX88" fmla="*/ 4269770 w 7308033"/>
                <a:gd name="connsiteY88" fmla="*/ 196518 h 7484336"/>
                <a:gd name="connsiteX89" fmla="*/ 4085159 w 7308033"/>
                <a:gd name="connsiteY89" fmla="*/ 163766 h 7484336"/>
                <a:gd name="connsiteX90" fmla="*/ 3998811 w 7308033"/>
                <a:gd name="connsiteY90" fmla="*/ 128035 h 7484336"/>
                <a:gd name="connsiteX91" fmla="*/ 550622 w 7308033"/>
                <a:gd name="connsiteY91" fmla="*/ 992975 h 7484336"/>
                <a:gd name="connsiteX92" fmla="*/ 535712 w 7308033"/>
                <a:gd name="connsiteY92" fmla="*/ 999512 h 7484336"/>
                <a:gd name="connsiteX93" fmla="*/ 516599 w 7308033"/>
                <a:gd name="connsiteY93" fmla="*/ 1006608 h 7484336"/>
                <a:gd name="connsiteX94" fmla="*/ 512050 w 7308033"/>
                <a:gd name="connsiteY94" fmla="*/ 1012379 h 7484336"/>
                <a:gd name="connsiteX95" fmla="*/ 479295 w 7308033"/>
                <a:gd name="connsiteY95" fmla="*/ 1042154 h 7484336"/>
                <a:gd name="connsiteX96" fmla="*/ 395923 w 7308033"/>
                <a:gd name="connsiteY96" fmla="*/ 1095751 h 7484336"/>
                <a:gd name="connsiteX97" fmla="*/ 339350 w 7308033"/>
                <a:gd name="connsiteY97" fmla="*/ 1158282 h 7484336"/>
                <a:gd name="connsiteX98" fmla="*/ 285753 w 7308033"/>
                <a:gd name="connsiteY98" fmla="*/ 1220810 h 7484336"/>
                <a:gd name="connsiteX99" fmla="*/ 250022 w 7308033"/>
                <a:gd name="connsiteY99" fmla="*/ 1253565 h 7484336"/>
                <a:gd name="connsiteX100" fmla="*/ 248809 w 7308033"/>
                <a:gd name="connsiteY100" fmla="*/ 1252046 h 7484336"/>
                <a:gd name="connsiteX101" fmla="*/ 215035 w 7308033"/>
                <a:gd name="connsiteY101" fmla="*/ 1292647 h 7484336"/>
                <a:gd name="connsiteX102" fmla="*/ 157715 w 7308033"/>
                <a:gd name="connsiteY102" fmla="*/ 1363738 h 7484336"/>
                <a:gd name="connsiteX103" fmla="*/ 65411 w 7308033"/>
                <a:gd name="connsiteY103" fmla="*/ 1464976 h 7484336"/>
                <a:gd name="connsiteX104" fmla="*/ 80298 w 7308033"/>
                <a:gd name="connsiteY104" fmla="*/ 1482838 h 7484336"/>
                <a:gd name="connsiteX105" fmla="*/ 80582 w 7308033"/>
                <a:gd name="connsiteY105" fmla="*/ 1482588 h 7484336"/>
                <a:gd name="connsiteX106" fmla="*/ 68387 w 7308033"/>
                <a:gd name="connsiteY106" fmla="*/ 1467952 h 7484336"/>
                <a:gd name="connsiteX107" fmla="*/ 160691 w 7308033"/>
                <a:gd name="connsiteY107" fmla="*/ 1366714 h 7484336"/>
                <a:gd name="connsiteX108" fmla="*/ 252998 w 7308033"/>
                <a:gd name="connsiteY108" fmla="*/ 1253565 h 7484336"/>
                <a:gd name="connsiteX109" fmla="*/ 288729 w 7308033"/>
                <a:gd name="connsiteY109" fmla="*/ 1220813 h 7484336"/>
                <a:gd name="connsiteX110" fmla="*/ 342326 w 7308033"/>
                <a:gd name="connsiteY110" fmla="*/ 1158282 h 7484336"/>
                <a:gd name="connsiteX111" fmla="*/ 398899 w 7308033"/>
                <a:gd name="connsiteY111" fmla="*/ 1095754 h 7484336"/>
                <a:gd name="connsiteX112" fmla="*/ 482271 w 7308033"/>
                <a:gd name="connsiteY112" fmla="*/ 1042158 h 7484336"/>
                <a:gd name="connsiteX113" fmla="*/ 515026 w 7308033"/>
                <a:gd name="connsiteY113" fmla="*/ 1012382 h 7484336"/>
                <a:gd name="connsiteX114" fmla="*/ 550758 w 7308033"/>
                <a:gd name="connsiteY114" fmla="*/ 998983 h 7484336"/>
                <a:gd name="connsiteX115" fmla="*/ 562036 w 7308033"/>
                <a:gd name="connsiteY115" fmla="*/ 995482 h 7484336"/>
                <a:gd name="connsiteX116" fmla="*/ 561411 w 7308033"/>
                <a:gd name="connsiteY116" fmla="*/ 990559 h 7484336"/>
                <a:gd name="connsiteX117" fmla="*/ 550622 w 7308033"/>
                <a:gd name="connsiteY117" fmla="*/ 992975 h 7484336"/>
                <a:gd name="connsiteX118" fmla="*/ 3599813 w 7308033"/>
                <a:gd name="connsiteY118" fmla="*/ 151856 h 7484336"/>
                <a:gd name="connsiteX119" fmla="*/ 3652293 w 7308033"/>
                <a:gd name="connsiteY119" fmla="*/ 151484 h 7484336"/>
                <a:gd name="connsiteX120" fmla="*/ 3715937 w 7308033"/>
                <a:gd name="connsiteY120" fmla="*/ 157811 h 7484336"/>
                <a:gd name="connsiteX121" fmla="*/ 3802289 w 7308033"/>
                <a:gd name="connsiteY121" fmla="*/ 187587 h 7484336"/>
                <a:gd name="connsiteX122" fmla="*/ 3736782 w 7308033"/>
                <a:gd name="connsiteY122" fmla="*/ 178656 h 7484336"/>
                <a:gd name="connsiteX123" fmla="*/ 3599813 w 7308033"/>
                <a:gd name="connsiteY123" fmla="*/ 151856 h 7484336"/>
                <a:gd name="connsiteX124" fmla="*/ 1994473 w 7308033"/>
                <a:gd name="connsiteY124" fmla="*/ 334850 h 7484336"/>
                <a:gd name="connsiteX125" fmla="*/ 1968092 w 7308033"/>
                <a:gd name="connsiteY125" fmla="*/ 345401 h 7484336"/>
                <a:gd name="connsiteX126" fmla="*/ 1786460 w 7308033"/>
                <a:gd name="connsiteY126" fmla="*/ 407929 h 7484336"/>
                <a:gd name="connsiteX127" fmla="*/ 1607805 w 7308033"/>
                <a:gd name="connsiteY127" fmla="*/ 479391 h 7484336"/>
                <a:gd name="connsiteX128" fmla="*/ 1482746 w 7308033"/>
                <a:gd name="connsiteY128" fmla="*/ 535967 h 7484336"/>
                <a:gd name="connsiteX129" fmla="*/ 1399373 w 7308033"/>
                <a:gd name="connsiteY129" fmla="*/ 568719 h 7484336"/>
                <a:gd name="connsiteX130" fmla="*/ 1193918 w 7308033"/>
                <a:gd name="connsiteY130" fmla="*/ 664002 h 7484336"/>
                <a:gd name="connsiteX131" fmla="*/ 1095659 w 7308033"/>
                <a:gd name="connsiteY131" fmla="*/ 726533 h 7484336"/>
                <a:gd name="connsiteX132" fmla="*/ 1000376 w 7308033"/>
                <a:gd name="connsiteY132" fmla="*/ 789061 h 7484336"/>
                <a:gd name="connsiteX133" fmla="*/ 848517 w 7308033"/>
                <a:gd name="connsiteY133" fmla="*/ 902209 h 7484336"/>
                <a:gd name="connsiteX134" fmla="*/ 705592 w 7308033"/>
                <a:gd name="connsiteY134" fmla="*/ 1015358 h 7484336"/>
                <a:gd name="connsiteX135" fmla="*/ 568804 w 7308033"/>
                <a:gd name="connsiteY135" fmla="*/ 1134687 h 7484336"/>
                <a:gd name="connsiteX136" fmla="*/ 580534 w 7308033"/>
                <a:gd name="connsiteY136" fmla="*/ 1149351 h 7484336"/>
                <a:gd name="connsiteX137" fmla="*/ 609565 w 7308033"/>
                <a:gd name="connsiteY137" fmla="*/ 1129438 h 7484336"/>
                <a:gd name="connsiteX138" fmla="*/ 634277 w 7308033"/>
                <a:gd name="connsiteY138" fmla="*/ 1111019 h 7484336"/>
                <a:gd name="connsiteX139" fmla="*/ 723458 w 7308033"/>
                <a:gd name="connsiteY139" fmla="*/ 1033223 h 7484336"/>
                <a:gd name="connsiteX140" fmla="*/ 866382 w 7308033"/>
                <a:gd name="connsiteY140" fmla="*/ 920075 h 7484336"/>
                <a:gd name="connsiteX141" fmla="*/ 1018238 w 7308033"/>
                <a:gd name="connsiteY141" fmla="*/ 806926 h 7484336"/>
                <a:gd name="connsiteX142" fmla="*/ 1113521 w 7308033"/>
                <a:gd name="connsiteY142" fmla="*/ 744395 h 7484336"/>
                <a:gd name="connsiteX143" fmla="*/ 1211783 w 7308033"/>
                <a:gd name="connsiteY143" fmla="*/ 681867 h 7484336"/>
                <a:gd name="connsiteX144" fmla="*/ 1417236 w 7308033"/>
                <a:gd name="connsiteY144" fmla="*/ 586584 h 7484336"/>
                <a:gd name="connsiteX145" fmla="*/ 1497632 w 7308033"/>
                <a:gd name="connsiteY145" fmla="*/ 544898 h 7484336"/>
                <a:gd name="connsiteX146" fmla="*/ 1622691 w 7308033"/>
                <a:gd name="connsiteY146" fmla="*/ 488322 h 7484336"/>
                <a:gd name="connsiteX147" fmla="*/ 1801347 w 7308033"/>
                <a:gd name="connsiteY147" fmla="*/ 416860 h 7484336"/>
                <a:gd name="connsiteX148" fmla="*/ 1982978 w 7308033"/>
                <a:gd name="connsiteY148" fmla="*/ 354332 h 7484336"/>
                <a:gd name="connsiteX149" fmla="*/ 2059277 w 7308033"/>
                <a:gd name="connsiteY149" fmla="*/ 339346 h 7484336"/>
                <a:gd name="connsiteX150" fmla="*/ 2096133 w 7308033"/>
                <a:gd name="connsiteY150" fmla="*/ 326751 h 7484336"/>
                <a:gd name="connsiteX151" fmla="*/ 2597795 w 7308033"/>
                <a:gd name="connsiteY151" fmla="*/ 218526 h 7484336"/>
                <a:gd name="connsiteX152" fmla="*/ 2587435 w 7308033"/>
                <a:gd name="connsiteY152" fmla="*/ 215503 h 7484336"/>
                <a:gd name="connsiteX153" fmla="*/ 2524903 w 7308033"/>
                <a:gd name="connsiteY153" fmla="*/ 223318 h 7484336"/>
                <a:gd name="connsiteX154" fmla="*/ 2390910 w 7308033"/>
                <a:gd name="connsiteY154" fmla="*/ 241184 h 7484336"/>
                <a:gd name="connsiteX155" fmla="*/ 2259896 w 7308033"/>
                <a:gd name="connsiteY155" fmla="*/ 270959 h 7484336"/>
                <a:gd name="connsiteX156" fmla="*/ 2203324 w 7308033"/>
                <a:gd name="connsiteY156" fmla="*/ 288825 h 7484336"/>
                <a:gd name="connsiteX157" fmla="*/ 2137816 w 7308033"/>
                <a:gd name="connsiteY157" fmla="*/ 306691 h 7484336"/>
                <a:gd name="connsiteX158" fmla="*/ 2046992 w 7308033"/>
                <a:gd name="connsiteY158" fmla="*/ 272932 h 7484336"/>
                <a:gd name="connsiteX159" fmla="*/ 2096621 w 7308033"/>
                <a:gd name="connsiteY159" fmla="*/ 259634 h 7484336"/>
                <a:gd name="connsiteX160" fmla="*/ 2215233 w 7308033"/>
                <a:gd name="connsiteY160" fmla="*/ 244163 h 7484336"/>
                <a:gd name="connsiteX161" fmla="*/ 2313493 w 7308033"/>
                <a:gd name="connsiteY161" fmla="*/ 208432 h 7484336"/>
                <a:gd name="connsiteX162" fmla="*/ 2426642 w 7308033"/>
                <a:gd name="connsiteY162" fmla="*/ 178656 h 7484336"/>
                <a:gd name="connsiteX163" fmla="*/ 2664849 w 7308033"/>
                <a:gd name="connsiteY163" fmla="*/ 145901 h 7484336"/>
                <a:gd name="connsiteX164" fmla="*/ 3008762 w 7308033"/>
                <a:gd name="connsiteY164" fmla="*/ 128407 h 7484336"/>
                <a:gd name="connsiteX165" fmla="*/ 3285189 w 7308033"/>
                <a:gd name="connsiteY165" fmla="*/ 137682 h 7484336"/>
                <a:gd name="connsiteX166" fmla="*/ 3002806 w 7308033"/>
                <a:gd name="connsiteY166" fmla="*/ 127291 h 7484336"/>
                <a:gd name="connsiteX167" fmla="*/ 2658894 w 7308033"/>
                <a:gd name="connsiteY167" fmla="*/ 145901 h 7484336"/>
                <a:gd name="connsiteX168" fmla="*/ 2420686 w 7308033"/>
                <a:gd name="connsiteY168" fmla="*/ 178653 h 7484336"/>
                <a:gd name="connsiteX169" fmla="*/ 2307538 w 7308033"/>
                <a:gd name="connsiteY169" fmla="*/ 208428 h 7484336"/>
                <a:gd name="connsiteX170" fmla="*/ 2209275 w 7308033"/>
                <a:gd name="connsiteY170" fmla="*/ 244160 h 7484336"/>
                <a:gd name="connsiteX171" fmla="*/ 2102296 w 7308033"/>
                <a:gd name="connsiteY171" fmla="*/ 258113 h 7484336"/>
                <a:gd name="connsiteX172" fmla="*/ 3008390 w 7308033"/>
                <a:gd name="connsiteY172" fmla="*/ 15326 h 7484336"/>
                <a:gd name="connsiteX173" fmla="*/ 3013414 w 7308033"/>
                <a:gd name="connsiteY173" fmla="*/ 15352 h 7484336"/>
                <a:gd name="connsiteX174" fmla="*/ 3113720 w 7308033"/>
                <a:gd name="connsiteY174" fmla="*/ 14143 h 7484336"/>
                <a:gd name="connsiteX175" fmla="*/ 3319919 w 7308033"/>
                <a:gd name="connsiteY175" fmla="*/ 17863 h 7484336"/>
                <a:gd name="connsiteX176" fmla="*/ 3323758 w 7308033"/>
                <a:gd name="connsiteY176" fmla="*/ 20742 h 7484336"/>
                <a:gd name="connsiteX177" fmla="*/ 3424136 w 7308033"/>
                <a:gd name="connsiteY177" fmla="*/ 8931 h 7484336"/>
                <a:gd name="connsiteX178" fmla="*/ 3516441 w 7308033"/>
                <a:gd name="connsiteY178" fmla="*/ 23818 h 7484336"/>
                <a:gd name="connsiteX179" fmla="*/ 3608747 w 7308033"/>
                <a:gd name="connsiteY179" fmla="*/ 41683 h 7484336"/>
                <a:gd name="connsiteX180" fmla="*/ 3656370 w 7308033"/>
                <a:gd name="connsiteY180" fmla="*/ 52509 h 7484336"/>
                <a:gd name="connsiteX181" fmla="*/ 3605768 w 7308033"/>
                <a:gd name="connsiteY181" fmla="*/ 38707 h 7484336"/>
                <a:gd name="connsiteX182" fmla="*/ 3513461 w 7308033"/>
                <a:gd name="connsiteY182" fmla="*/ 20842 h 7484336"/>
                <a:gd name="connsiteX183" fmla="*/ 3421157 w 7308033"/>
                <a:gd name="connsiteY183" fmla="*/ 5955 h 7484336"/>
                <a:gd name="connsiteX184" fmla="*/ 3421158 w 7308033"/>
                <a:gd name="connsiteY184" fmla="*/ 0 h 7484336"/>
                <a:gd name="connsiteX185" fmla="*/ 3561102 w 7308033"/>
                <a:gd name="connsiteY185" fmla="*/ 8931 h 7484336"/>
                <a:gd name="connsiteX186" fmla="*/ 3704027 w 7308033"/>
                <a:gd name="connsiteY186" fmla="*/ 23821 h 7484336"/>
                <a:gd name="connsiteX187" fmla="*/ 3799310 w 7308033"/>
                <a:gd name="connsiteY187" fmla="*/ 47642 h 7484336"/>
                <a:gd name="connsiteX188" fmla="*/ 3861841 w 7308033"/>
                <a:gd name="connsiteY188" fmla="*/ 77418 h 7484336"/>
                <a:gd name="connsiteX189" fmla="*/ 3939259 w 7308033"/>
                <a:gd name="connsiteY189" fmla="*/ 62528 h 7484336"/>
                <a:gd name="connsiteX190" fmla="*/ 4055383 w 7308033"/>
                <a:gd name="connsiteY190" fmla="*/ 89328 h 7484336"/>
                <a:gd name="connsiteX191" fmla="*/ 4126846 w 7308033"/>
                <a:gd name="connsiteY191" fmla="*/ 110169 h 7484336"/>
                <a:gd name="connsiteX192" fmla="*/ 4123870 w 7308033"/>
                <a:gd name="connsiteY192" fmla="*/ 113149 h 7484336"/>
                <a:gd name="connsiteX193" fmla="*/ 4120890 w 7308033"/>
                <a:gd name="connsiteY193" fmla="*/ 133990 h 7484336"/>
                <a:gd name="connsiteX194" fmla="*/ 3998811 w 7308033"/>
                <a:gd name="connsiteY194" fmla="*/ 125059 h 7484336"/>
                <a:gd name="connsiteX195" fmla="*/ 3957124 w 7308033"/>
                <a:gd name="connsiteY195" fmla="*/ 113149 h 7484336"/>
                <a:gd name="connsiteX196" fmla="*/ 3915438 w 7308033"/>
                <a:gd name="connsiteY196" fmla="*/ 104214 h 7484336"/>
                <a:gd name="connsiteX197" fmla="*/ 3835041 w 7308033"/>
                <a:gd name="connsiteY197" fmla="*/ 86349 h 7484336"/>
                <a:gd name="connsiteX198" fmla="*/ 3754648 w 7308033"/>
                <a:gd name="connsiteY198" fmla="*/ 68483 h 7484336"/>
                <a:gd name="connsiteX199" fmla="*/ 3671275 w 7308033"/>
                <a:gd name="connsiteY199" fmla="*/ 56573 h 7484336"/>
                <a:gd name="connsiteX200" fmla="*/ 3578972 w 7308033"/>
                <a:gd name="connsiteY200" fmla="*/ 56573 h 7484336"/>
                <a:gd name="connsiteX201" fmla="*/ 3504530 w 7308033"/>
                <a:gd name="connsiteY201" fmla="*/ 56573 h 7484336"/>
                <a:gd name="connsiteX202" fmla="*/ 3388405 w 7308033"/>
                <a:gd name="connsiteY202" fmla="*/ 56573 h 7484336"/>
                <a:gd name="connsiteX203" fmla="*/ 3382950 w 7308033"/>
                <a:gd name="connsiteY203" fmla="*/ 54832 h 7484336"/>
                <a:gd name="connsiteX204" fmla="*/ 3331829 w 7308033"/>
                <a:gd name="connsiteY204" fmla="*/ 80394 h 7484336"/>
                <a:gd name="connsiteX205" fmla="*/ 3349695 w 7308033"/>
                <a:gd name="connsiteY205" fmla="*/ 110170 h 7484336"/>
                <a:gd name="connsiteX206" fmla="*/ 3528350 w 7308033"/>
                <a:gd name="connsiteY206" fmla="*/ 145901 h 7484336"/>
                <a:gd name="connsiteX207" fmla="*/ 3448848 w 7308033"/>
                <a:gd name="connsiteY207" fmla="*/ 147289 h 7484336"/>
                <a:gd name="connsiteX208" fmla="*/ 3450189 w 7308033"/>
                <a:gd name="connsiteY208" fmla="*/ 147392 h 7484336"/>
                <a:gd name="connsiteX209" fmla="*/ 3534306 w 7308033"/>
                <a:gd name="connsiteY209" fmla="*/ 145901 h 7484336"/>
                <a:gd name="connsiteX210" fmla="*/ 3605768 w 7308033"/>
                <a:gd name="connsiteY210" fmla="*/ 154835 h 7484336"/>
                <a:gd name="connsiteX211" fmla="*/ 3742737 w 7308033"/>
                <a:gd name="connsiteY211" fmla="*/ 181632 h 7484336"/>
                <a:gd name="connsiteX212" fmla="*/ 3808245 w 7308033"/>
                <a:gd name="connsiteY212" fmla="*/ 190566 h 7484336"/>
                <a:gd name="connsiteX213" fmla="*/ 3918417 w 7308033"/>
                <a:gd name="connsiteY213" fmla="*/ 214387 h 7484336"/>
                <a:gd name="connsiteX214" fmla="*/ 4031566 w 7308033"/>
                <a:gd name="connsiteY214" fmla="*/ 238208 h 7484336"/>
                <a:gd name="connsiteX215" fmla="*/ 4141735 w 7308033"/>
                <a:gd name="connsiteY215" fmla="*/ 265004 h 7484336"/>
                <a:gd name="connsiteX216" fmla="*/ 4251908 w 7308033"/>
                <a:gd name="connsiteY216" fmla="*/ 297759 h 7484336"/>
                <a:gd name="connsiteX217" fmla="*/ 4305504 w 7308033"/>
                <a:gd name="connsiteY217" fmla="*/ 312646 h 7484336"/>
                <a:gd name="connsiteX218" fmla="*/ 4359101 w 7308033"/>
                <a:gd name="connsiteY218" fmla="*/ 330511 h 7484336"/>
                <a:gd name="connsiteX219" fmla="*/ 4359792 w 7308033"/>
                <a:gd name="connsiteY219" fmla="*/ 331143 h 7484336"/>
                <a:gd name="connsiteX220" fmla="*/ 4398227 w 7308033"/>
                <a:gd name="connsiteY220" fmla="*/ 337770 h 7484336"/>
                <a:gd name="connsiteX221" fmla="*/ 4491368 w 7308033"/>
                <a:gd name="connsiteY221" fmla="*/ 372382 h 7484336"/>
                <a:gd name="connsiteX222" fmla="*/ 4504379 w 7308033"/>
                <a:gd name="connsiteY222" fmla="*/ 392095 h 7484336"/>
                <a:gd name="connsiteX223" fmla="*/ 4507980 w 7308033"/>
                <a:gd name="connsiteY223" fmla="*/ 393042 h 7484336"/>
                <a:gd name="connsiteX224" fmla="*/ 4591353 w 7308033"/>
                <a:gd name="connsiteY224" fmla="*/ 425794 h 7484336"/>
                <a:gd name="connsiteX225" fmla="*/ 4662816 w 7308033"/>
                <a:gd name="connsiteY225" fmla="*/ 455570 h 7484336"/>
                <a:gd name="connsiteX226" fmla="*/ 4734278 w 7308033"/>
                <a:gd name="connsiteY226" fmla="*/ 488325 h 7484336"/>
                <a:gd name="connsiteX227" fmla="*/ 4787874 w 7308033"/>
                <a:gd name="connsiteY227" fmla="*/ 518101 h 7484336"/>
                <a:gd name="connsiteX228" fmla="*/ 4823606 w 7308033"/>
                <a:gd name="connsiteY228" fmla="*/ 535967 h 7484336"/>
                <a:gd name="connsiteX229" fmla="*/ 4862313 w 7308033"/>
                <a:gd name="connsiteY229" fmla="*/ 556808 h 7484336"/>
                <a:gd name="connsiteX230" fmla="*/ 4993327 w 7308033"/>
                <a:gd name="connsiteY230" fmla="*/ 631250 h 7484336"/>
                <a:gd name="connsiteX231" fmla="*/ 5160072 w 7308033"/>
                <a:gd name="connsiteY231" fmla="*/ 738443 h 7484336"/>
                <a:gd name="connsiteX232" fmla="*/ 5246424 w 7308033"/>
                <a:gd name="connsiteY232" fmla="*/ 797995 h 7484336"/>
                <a:gd name="connsiteX233" fmla="*/ 5248924 w 7308033"/>
                <a:gd name="connsiteY233" fmla="*/ 799780 h 7484336"/>
                <a:gd name="connsiteX234" fmla="*/ 5293052 w 7308033"/>
                <a:gd name="connsiteY234" fmla="*/ 826589 h 7484336"/>
                <a:gd name="connsiteX235" fmla="*/ 6973427 w 7308033"/>
                <a:gd name="connsiteY235" fmla="*/ 3986995 h 7484336"/>
                <a:gd name="connsiteX236" fmla="*/ 6972171 w 7308033"/>
                <a:gd name="connsiteY236" fmla="*/ 4011914 h 7484336"/>
                <a:gd name="connsiteX237" fmla="*/ 7006179 w 7308033"/>
                <a:gd name="connsiteY237" fmla="*/ 4016772 h 7484336"/>
                <a:gd name="connsiteX238" fmla="*/ 7038932 w 7308033"/>
                <a:gd name="connsiteY238" fmla="*/ 4040592 h 7484336"/>
                <a:gd name="connsiteX239" fmla="*/ 7053821 w 7308033"/>
                <a:gd name="connsiteY239" fmla="*/ 4120986 h 7484336"/>
                <a:gd name="connsiteX240" fmla="*/ 7110394 w 7308033"/>
                <a:gd name="connsiteY240" fmla="*/ 4216268 h 7484336"/>
                <a:gd name="connsiteX241" fmla="*/ 7134218 w 7308033"/>
                <a:gd name="connsiteY241" fmla="*/ 4218435 h 7484336"/>
                <a:gd name="connsiteX242" fmla="*/ 7134218 w 7308033"/>
                <a:gd name="connsiteY242" fmla="*/ 4195427 h 7484336"/>
                <a:gd name="connsiteX243" fmla="*/ 7158423 w 7308033"/>
                <a:gd name="connsiteY243" fmla="*/ 4128188 h 7484336"/>
                <a:gd name="connsiteX244" fmla="*/ 7158035 w 7308033"/>
                <a:gd name="connsiteY244" fmla="*/ 4115034 h 7484336"/>
                <a:gd name="connsiteX245" fmla="*/ 7181856 w 7308033"/>
                <a:gd name="connsiteY245" fmla="*/ 4034637 h 7484336"/>
                <a:gd name="connsiteX246" fmla="*/ 7214611 w 7308033"/>
                <a:gd name="connsiteY246" fmla="*/ 4034637 h 7484336"/>
                <a:gd name="connsiteX247" fmla="*/ 7265228 w 7308033"/>
                <a:gd name="connsiteY247" fmla="*/ 4001885 h 7484336"/>
                <a:gd name="connsiteX248" fmla="*/ 7271184 w 7308033"/>
                <a:gd name="connsiteY248" fmla="*/ 4132899 h 7484336"/>
                <a:gd name="connsiteX249" fmla="*/ 7256297 w 7308033"/>
                <a:gd name="connsiteY249" fmla="*/ 4195427 h 7484336"/>
                <a:gd name="connsiteX250" fmla="*/ 7238432 w 7308033"/>
                <a:gd name="connsiteY250" fmla="*/ 4254979 h 7484336"/>
                <a:gd name="connsiteX251" fmla="*/ 7229498 w 7308033"/>
                <a:gd name="connsiteY251" fmla="*/ 4353241 h 7484336"/>
                <a:gd name="connsiteX252" fmla="*/ 7226521 w 7308033"/>
                <a:gd name="connsiteY252" fmla="*/ 4403859 h 7484336"/>
                <a:gd name="connsiteX253" fmla="*/ 7220567 w 7308033"/>
                <a:gd name="connsiteY253" fmla="*/ 4454479 h 7484336"/>
                <a:gd name="connsiteX254" fmla="*/ 7207871 w 7308033"/>
                <a:gd name="connsiteY254" fmla="*/ 4462944 h 7484336"/>
                <a:gd name="connsiteX255" fmla="*/ 7208656 w 7308033"/>
                <a:gd name="connsiteY255" fmla="*/ 4466386 h 7484336"/>
                <a:gd name="connsiteX256" fmla="*/ 7220819 w 7308033"/>
                <a:gd name="connsiteY256" fmla="*/ 4458278 h 7484336"/>
                <a:gd name="connsiteX257" fmla="*/ 7226521 w 7308033"/>
                <a:gd name="connsiteY257" fmla="*/ 4409814 h 7484336"/>
                <a:gd name="connsiteX258" fmla="*/ 7229497 w 7308033"/>
                <a:gd name="connsiteY258" fmla="*/ 4359196 h 7484336"/>
                <a:gd name="connsiteX259" fmla="*/ 7238432 w 7308033"/>
                <a:gd name="connsiteY259" fmla="*/ 4260934 h 7484336"/>
                <a:gd name="connsiteX260" fmla="*/ 7256297 w 7308033"/>
                <a:gd name="connsiteY260" fmla="*/ 4201383 h 7484336"/>
                <a:gd name="connsiteX261" fmla="*/ 7271184 w 7308033"/>
                <a:gd name="connsiteY261" fmla="*/ 4138855 h 7484336"/>
                <a:gd name="connsiteX262" fmla="*/ 7295004 w 7308033"/>
                <a:gd name="connsiteY262" fmla="*/ 4156720 h 7484336"/>
                <a:gd name="connsiteX263" fmla="*/ 7292028 w 7308033"/>
                <a:gd name="connsiteY263" fmla="*/ 4201382 h 7484336"/>
                <a:gd name="connsiteX264" fmla="*/ 7286074 w 7308033"/>
                <a:gd name="connsiteY264" fmla="*/ 4246047 h 7484336"/>
                <a:gd name="connsiteX265" fmla="*/ 7283094 w 7308033"/>
                <a:gd name="connsiteY265" fmla="*/ 4329421 h 7484336"/>
                <a:gd name="connsiteX266" fmla="*/ 7277139 w 7308033"/>
                <a:gd name="connsiteY266" fmla="*/ 4427679 h 7484336"/>
                <a:gd name="connsiteX267" fmla="*/ 7262253 w 7308033"/>
                <a:gd name="connsiteY267" fmla="*/ 4531896 h 7484336"/>
                <a:gd name="connsiteX268" fmla="*/ 7244387 w 7308033"/>
                <a:gd name="connsiteY268" fmla="*/ 4642066 h 7484336"/>
                <a:gd name="connsiteX269" fmla="*/ 7223542 w 7308033"/>
                <a:gd name="connsiteY269" fmla="*/ 4749259 h 7484336"/>
                <a:gd name="connsiteX270" fmla="*/ 7184835 w 7308033"/>
                <a:gd name="connsiteY270" fmla="*/ 4975556 h 7484336"/>
                <a:gd name="connsiteX271" fmla="*/ 7149104 w 7308033"/>
                <a:gd name="connsiteY271" fmla="*/ 4996401 h 7484336"/>
                <a:gd name="connsiteX272" fmla="*/ 7104438 w 7308033"/>
                <a:gd name="connsiteY272" fmla="*/ 5127416 h 7484336"/>
                <a:gd name="connsiteX273" fmla="*/ 7092529 w 7308033"/>
                <a:gd name="connsiteY273" fmla="*/ 5252474 h 7484336"/>
                <a:gd name="connsiteX274" fmla="*/ 7086573 w 7308033"/>
                <a:gd name="connsiteY274" fmla="*/ 5270339 h 7484336"/>
                <a:gd name="connsiteX275" fmla="*/ 7035956 w 7308033"/>
                <a:gd name="connsiteY275" fmla="*/ 5407309 h 7484336"/>
                <a:gd name="connsiteX276" fmla="*/ 7021066 w 7308033"/>
                <a:gd name="connsiteY276" fmla="*/ 5419219 h 7484336"/>
                <a:gd name="connsiteX277" fmla="*/ 6958538 w 7308033"/>
                <a:gd name="connsiteY277" fmla="*/ 5565120 h 7484336"/>
                <a:gd name="connsiteX278" fmla="*/ 7024045 w 7308033"/>
                <a:gd name="connsiteY278" fmla="*/ 5419219 h 7484336"/>
                <a:gd name="connsiteX279" fmla="*/ 7038932 w 7308033"/>
                <a:gd name="connsiteY279" fmla="*/ 5407309 h 7484336"/>
                <a:gd name="connsiteX280" fmla="*/ 6943648 w 7308033"/>
                <a:gd name="connsiteY280" fmla="*/ 5678268 h 7484336"/>
                <a:gd name="connsiteX281" fmla="*/ 6893031 w 7308033"/>
                <a:gd name="connsiteY281" fmla="*/ 5705068 h 7484336"/>
                <a:gd name="connsiteX282" fmla="*/ 6882533 w 7308033"/>
                <a:gd name="connsiteY282" fmla="*/ 5726066 h 7484336"/>
                <a:gd name="connsiteX283" fmla="*/ 6884100 w 7308033"/>
                <a:gd name="connsiteY283" fmla="*/ 5728886 h 7484336"/>
                <a:gd name="connsiteX284" fmla="*/ 6896010 w 7308033"/>
                <a:gd name="connsiteY284" fmla="*/ 5705065 h 7484336"/>
                <a:gd name="connsiteX285" fmla="*/ 6946628 w 7308033"/>
                <a:gd name="connsiteY285" fmla="*/ 5678269 h 7484336"/>
                <a:gd name="connsiteX286" fmla="*/ 6910897 w 7308033"/>
                <a:gd name="connsiteY286" fmla="*/ 5779506 h 7484336"/>
                <a:gd name="connsiteX287" fmla="*/ 6845389 w 7308033"/>
                <a:gd name="connsiteY287" fmla="*/ 5898611 h 7484336"/>
                <a:gd name="connsiteX288" fmla="*/ 6812638 w 7308033"/>
                <a:gd name="connsiteY288" fmla="*/ 5958162 h 7484336"/>
                <a:gd name="connsiteX289" fmla="*/ 6776907 w 7308033"/>
                <a:gd name="connsiteY289" fmla="*/ 6017714 h 7484336"/>
                <a:gd name="connsiteX290" fmla="*/ 6750106 w 7308033"/>
                <a:gd name="connsiteY290" fmla="*/ 6062376 h 7484336"/>
                <a:gd name="connsiteX291" fmla="*/ 6724490 w 7308033"/>
                <a:gd name="connsiteY291" fmla="*/ 6119524 h 7484336"/>
                <a:gd name="connsiteX292" fmla="*/ 6444201 w 7308033"/>
                <a:gd name="connsiteY292" fmla="*/ 6194627 h 7484336"/>
                <a:gd name="connsiteX293" fmla="*/ 6494406 w 7308033"/>
                <a:gd name="connsiteY293" fmla="*/ 6117091 h 7484336"/>
                <a:gd name="connsiteX294" fmla="*/ 6541675 w 7308033"/>
                <a:gd name="connsiteY294" fmla="*/ 6026649 h 7484336"/>
                <a:gd name="connsiteX295" fmla="*/ 6628027 w 7308033"/>
                <a:gd name="connsiteY295" fmla="*/ 5886700 h 7484336"/>
                <a:gd name="connsiteX296" fmla="*/ 6708421 w 7308033"/>
                <a:gd name="connsiteY296" fmla="*/ 5743775 h 7484336"/>
                <a:gd name="connsiteX297" fmla="*/ 6738196 w 7308033"/>
                <a:gd name="connsiteY297" fmla="*/ 5690179 h 7484336"/>
                <a:gd name="connsiteX298" fmla="*/ 6762017 w 7308033"/>
                <a:gd name="connsiteY298" fmla="*/ 5639562 h 7484336"/>
                <a:gd name="connsiteX299" fmla="*/ 6800727 w 7308033"/>
                <a:gd name="connsiteY299" fmla="*/ 5544279 h 7484336"/>
                <a:gd name="connsiteX300" fmla="*/ 6884100 w 7308033"/>
                <a:gd name="connsiteY300" fmla="*/ 5362643 h 7484336"/>
                <a:gd name="connsiteX301" fmla="*/ 6916852 w 7308033"/>
                <a:gd name="connsiteY301" fmla="*/ 5240564 h 7484336"/>
                <a:gd name="connsiteX302" fmla="*/ 6997248 w 7308033"/>
                <a:gd name="connsiteY302" fmla="*/ 4996401 h 7484336"/>
                <a:gd name="connsiteX303" fmla="*/ 7032979 w 7308033"/>
                <a:gd name="connsiteY303" fmla="*/ 4805835 h 7484336"/>
                <a:gd name="connsiteX304" fmla="*/ 7080621 w 7308033"/>
                <a:gd name="connsiteY304" fmla="*/ 4576559 h 7484336"/>
                <a:gd name="connsiteX305" fmla="*/ 7091362 w 7308033"/>
                <a:gd name="connsiteY305" fmla="*/ 4536286 h 7484336"/>
                <a:gd name="connsiteX306" fmla="*/ 7083597 w 7308033"/>
                <a:gd name="connsiteY306" fmla="*/ 4534872 h 7484336"/>
                <a:gd name="connsiteX307" fmla="*/ 7086573 w 7308033"/>
                <a:gd name="connsiteY307" fmla="*/ 4460435 h 7484336"/>
                <a:gd name="connsiteX308" fmla="*/ 7088158 w 7308033"/>
                <a:gd name="connsiteY308" fmla="*/ 4454885 h 7484336"/>
                <a:gd name="connsiteX309" fmla="*/ 7086079 w 7308033"/>
                <a:gd name="connsiteY309" fmla="*/ 4455001 h 7484336"/>
                <a:gd name="connsiteX310" fmla="*/ 7082312 w 7308033"/>
                <a:gd name="connsiteY310" fmla="*/ 4455210 h 7484336"/>
                <a:gd name="connsiteX311" fmla="*/ 7083597 w 7308033"/>
                <a:gd name="connsiteY311" fmla="*/ 4469366 h 7484336"/>
                <a:gd name="connsiteX312" fmla="*/ 7080621 w 7308033"/>
                <a:gd name="connsiteY312" fmla="*/ 4543807 h 7484336"/>
                <a:gd name="connsiteX313" fmla="*/ 7068710 w 7308033"/>
                <a:gd name="connsiteY313" fmla="*/ 4588469 h 7484336"/>
                <a:gd name="connsiteX314" fmla="*/ 6997249 w 7308033"/>
                <a:gd name="connsiteY314" fmla="*/ 4701618 h 7484336"/>
                <a:gd name="connsiteX315" fmla="*/ 6979383 w 7308033"/>
                <a:gd name="connsiteY315" fmla="*/ 4799880 h 7484336"/>
                <a:gd name="connsiteX316" fmla="*/ 6961517 w 7308033"/>
                <a:gd name="connsiteY316" fmla="*/ 4832632 h 7484336"/>
                <a:gd name="connsiteX317" fmla="*/ 6931741 w 7308033"/>
                <a:gd name="connsiteY317" fmla="*/ 4975556 h 7484336"/>
                <a:gd name="connsiteX318" fmla="*/ 6898986 w 7308033"/>
                <a:gd name="connsiteY318" fmla="*/ 5088705 h 7484336"/>
                <a:gd name="connsiteX319" fmla="*/ 6863255 w 7308033"/>
                <a:gd name="connsiteY319" fmla="*/ 5198877 h 7484336"/>
                <a:gd name="connsiteX320" fmla="*/ 6842413 w 7308033"/>
                <a:gd name="connsiteY320" fmla="*/ 5285226 h 7484336"/>
                <a:gd name="connsiteX321" fmla="*/ 6818593 w 7308033"/>
                <a:gd name="connsiteY321" fmla="*/ 5374554 h 7484336"/>
                <a:gd name="connsiteX322" fmla="*/ 6837590 w 7308033"/>
                <a:gd name="connsiteY322" fmla="*/ 5345006 h 7484336"/>
                <a:gd name="connsiteX323" fmla="*/ 6854324 w 7308033"/>
                <a:gd name="connsiteY323" fmla="*/ 5282247 h 7484336"/>
                <a:gd name="connsiteX324" fmla="*/ 6869211 w 7308033"/>
                <a:gd name="connsiteY324" fmla="*/ 5192919 h 7484336"/>
                <a:gd name="connsiteX325" fmla="*/ 6904941 w 7308033"/>
                <a:gd name="connsiteY325" fmla="*/ 5082750 h 7484336"/>
                <a:gd name="connsiteX326" fmla="*/ 6937697 w 7308033"/>
                <a:gd name="connsiteY326" fmla="*/ 4969602 h 7484336"/>
                <a:gd name="connsiteX327" fmla="*/ 6967473 w 7308033"/>
                <a:gd name="connsiteY327" fmla="*/ 4826677 h 7484336"/>
                <a:gd name="connsiteX328" fmla="*/ 6985338 w 7308033"/>
                <a:gd name="connsiteY328" fmla="*/ 4793921 h 7484336"/>
                <a:gd name="connsiteX329" fmla="*/ 7003203 w 7308033"/>
                <a:gd name="connsiteY329" fmla="*/ 4695662 h 7484336"/>
                <a:gd name="connsiteX330" fmla="*/ 7074666 w 7308033"/>
                <a:gd name="connsiteY330" fmla="*/ 4582514 h 7484336"/>
                <a:gd name="connsiteX331" fmla="*/ 7027025 w 7308033"/>
                <a:gd name="connsiteY331" fmla="*/ 4811787 h 7484336"/>
                <a:gd name="connsiteX332" fmla="*/ 6991293 w 7308033"/>
                <a:gd name="connsiteY332" fmla="*/ 5002353 h 7484336"/>
                <a:gd name="connsiteX333" fmla="*/ 6910897 w 7308033"/>
                <a:gd name="connsiteY333" fmla="*/ 5246516 h 7484336"/>
                <a:gd name="connsiteX334" fmla="*/ 6894994 w 7308033"/>
                <a:gd name="connsiteY334" fmla="*/ 5271255 h 7484336"/>
                <a:gd name="connsiteX335" fmla="*/ 6888195 w 7308033"/>
                <a:gd name="connsiteY335" fmla="*/ 5308303 h 7484336"/>
                <a:gd name="connsiteX336" fmla="*/ 6866235 w 7308033"/>
                <a:gd name="connsiteY336" fmla="*/ 5371578 h 7484336"/>
                <a:gd name="connsiteX337" fmla="*/ 6782861 w 7308033"/>
                <a:gd name="connsiteY337" fmla="*/ 5553209 h 7484336"/>
                <a:gd name="connsiteX338" fmla="*/ 6744152 w 7308033"/>
                <a:gd name="connsiteY338" fmla="*/ 5648492 h 7484336"/>
                <a:gd name="connsiteX339" fmla="*/ 6720330 w 7308033"/>
                <a:gd name="connsiteY339" fmla="*/ 5699113 h 7484336"/>
                <a:gd name="connsiteX340" fmla="*/ 6690554 w 7308033"/>
                <a:gd name="connsiteY340" fmla="*/ 5752710 h 7484336"/>
                <a:gd name="connsiteX341" fmla="*/ 6610162 w 7308033"/>
                <a:gd name="connsiteY341" fmla="*/ 5895635 h 7484336"/>
                <a:gd name="connsiteX342" fmla="*/ 6523810 w 7308033"/>
                <a:gd name="connsiteY342" fmla="*/ 6035579 h 7484336"/>
                <a:gd name="connsiteX343" fmla="*/ 6476540 w 7308033"/>
                <a:gd name="connsiteY343" fmla="*/ 6127141 h 7484336"/>
                <a:gd name="connsiteX344" fmla="*/ 6429810 w 7308033"/>
                <a:gd name="connsiteY344" fmla="*/ 6198484 h 7484336"/>
                <a:gd name="connsiteX345" fmla="*/ 6336174 w 7308033"/>
                <a:gd name="connsiteY345" fmla="*/ 6223573 h 7484336"/>
                <a:gd name="connsiteX346" fmla="*/ 6354089 w 7308033"/>
                <a:gd name="connsiteY346" fmla="*/ 6196370 h 7484336"/>
                <a:gd name="connsiteX347" fmla="*/ 6446392 w 7308033"/>
                <a:gd name="connsiteY347" fmla="*/ 6074290 h 7484336"/>
                <a:gd name="connsiteX348" fmla="*/ 6485103 w 7308033"/>
                <a:gd name="connsiteY348" fmla="*/ 6008783 h 7484336"/>
                <a:gd name="connsiteX349" fmla="*/ 6523809 w 7308033"/>
                <a:gd name="connsiteY349" fmla="*/ 5937321 h 7484336"/>
                <a:gd name="connsiteX350" fmla="*/ 6534834 w 7308033"/>
                <a:gd name="connsiteY350" fmla="*/ 5919741 h 7484336"/>
                <a:gd name="connsiteX351" fmla="*/ 6593762 w 7308033"/>
                <a:gd name="connsiteY351" fmla="*/ 5834622 h 7484336"/>
                <a:gd name="connsiteX352" fmla="*/ 6604206 w 7308033"/>
                <a:gd name="connsiteY352" fmla="*/ 5821193 h 7484336"/>
                <a:gd name="connsiteX353" fmla="*/ 6605697 w 7308033"/>
                <a:gd name="connsiteY353" fmla="*/ 5817382 h 7484336"/>
                <a:gd name="connsiteX354" fmla="*/ 6593762 w 7308033"/>
                <a:gd name="connsiteY354" fmla="*/ 5834622 h 7484336"/>
                <a:gd name="connsiteX355" fmla="*/ 6565125 w 7308033"/>
                <a:gd name="connsiteY355" fmla="*/ 5871441 h 7484336"/>
                <a:gd name="connsiteX356" fmla="*/ 6534834 w 7308033"/>
                <a:gd name="connsiteY356" fmla="*/ 5919741 h 7484336"/>
                <a:gd name="connsiteX357" fmla="*/ 6526789 w 7308033"/>
                <a:gd name="connsiteY357" fmla="*/ 5931363 h 7484336"/>
                <a:gd name="connsiteX358" fmla="*/ 6488078 w 7308033"/>
                <a:gd name="connsiteY358" fmla="*/ 6002825 h 7484336"/>
                <a:gd name="connsiteX359" fmla="*/ 6449371 w 7308033"/>
                <a:gd name="connsiteY359" fmla="*/ 6068331 h 7484336"/>
                <a:gd name="connsiteX360" fmla="*/ 6357065 w 7308033"/>
                <a:gd name="connsiteY360" fmla="*/ 6190414 h 7484336"/>
                <a:gd name="connsiteX361" fmla="*/ 6335765 w 7308033"/>
                <a:gd name="connsiteY361" fmla="*/ 6223683 h 7484336"/>
                <a:gd name="connsiteX362" fmla="*/ 6265251 w 7308033"/>
                <a:gd name="connsiteY362" fmla="*/ 6242577 h 7484336"/>
                <a:gd name="connsiteX363" fmla="*/ 6265470 w 7308033"/>
                <a:gd name="connsiteY363" fmla="*/ 6242204 h 7484336"/>
                <a:gd name="connsiteX364" fmla="*/ 6267736 w 7308033"/>
                <a:gd name="connsiteY364" fmla="*/ 6235077 h 7484336"/>
                <a:gd name="connsiteX365" fmla="*/ 6345154 w 7308033"/>
                <a:gd name="connsiteY365" fmla="*/ 6115973 h 7484336"/>
                <a:gd name="connsiteX366" fmla="*/ 6368975 w 7308033"/>
                <a:gd name="connsiteY366" fmla="*/ 6080242 h 7484336"/>
                <a:gd name="connsiteX367" fmla="*/ 6400648 w 7308033"/>
                <a:gd name="connsiteY367" fmla="*/ 6036311 h 7484336"/>
                <a:gd name="connsiteX368" fmla="*/ 6410661 w 7308033"/>
                <a:gd name="connsiteY368" fmla="*/ 6017714 h 7484336"/>
                <a:gd name="connsiteX369" fmla="*/ 6473189 w 7308033"/>
                <a:gd name="connsiteY369" fmla="*/ 5910521 h 7484336"/>
                <a:gd name="connsiteX370" fmla="*/ 6595272 w 7308033"/>
                <a:gd name="connsiteY370" fmla="*/ 5657424 h 7484336"/>
                <a:gd name="connsiteX371" fmla="*/ 6714376 w 7308033"/>
                <a:gd name="connsiteY371" fmla="*/ 5386465 h 7484336"/>
                <a:gd name="connsiteX372" fmla="*/ 6749362 w 7308033"/>
                <a:gd name="connsiteY372" fmla="*/ 5276292 h 7484336"/>
                <a:gd name="connsiteX373" fmla="*/ 6760782 w 7308033"/>
                <a:gd name="connsiteY373" fmla="*/ 5233196 h 7484336"/>
                <a:gd name="connsiteX374" fmla="*/ 6673915 w 7308033"/>
                <a:gd name="connsiteY374" fmla="*/ 5470534 h 7484336"/>
                <a:gd name="connsiteX375" fmla="*/ 6491183 w 7308033"/>
                <a:gd name="connsiteY375" fmla="*/ 5844051 h 7484336"/>
                <a:gd name="connsiteX376" fmla="*/ 6464429 w 7308033"/>
                <a:gd name="connsiteY376" fmla="*/ 5886350 h 7484336"/>
                <a:gd name="connsiteX377" fmla="*/ 6464258 w 7308033"/>
                <a:gd name="connsiteY377" fmla="*/ 5886700 h 7484336"/>
                <a:gd name="connsiteX378" fmla="*/ 6401726 w 7308033"/>
                <a:gd name="connsiteY378" fmla="*/ 5993893 h 7484336"/>
                <a:gd name="connsiteX379" fmla="*/ 6339199 w 7308033"/>
                <a:gd name="connsiteY379" fmla="*/ 6110021 h 7484336"/>
                <a:gd name="connsiteX380" fmla="*/ 6267736 w 7308033"/>
                <a:gd name="connsiteY380" fmla="*/ 6199349 h 7484336"/>
                <a:gd name="connsiteX381" fmla="*/ 6234610 w 7308033"/>
                <a:gd name="connsiteY381" fmla="*/ 6249967 h 7484336"/>
                <a:gd name="connsiteX382" fmla="*/ 6234112 w 7308033"/>
                <a:gd name="connsiteY382" fmla="*/ 6250921 h 7484336"/>
                <a:gd name="connsiteX383" fmla="*/ 1630942 w 7308033"/>
                <a:gd name="connsiteY383" fmla="*/ 7484336 h 7484336"/>
                <a:gd name="connsiteX384" fmla="*/ 75670 w 7308033"/>
                <a:gd name="connsiteY384" fmla="*/ 1679985 h 7484336"/>
                <a:gd name="connsiteX385" fmla="*/ 151760 w 7308033"/>
                <a:gd name="connsiteY385" fmla="*/ 1595990 h 7484336"/>
                <a:gd name="connsiteX386" fmla="*/ 202378 w 7308033"/>
                <a:gd name="connsiteY386" fmla="*/ 1533459 h 7484336"/>
                <a:gd name="connsiteX387" fmla="*/ 252998 w 7308033"/>
                <a:gd name="connsiteY387" fmla="*/ 1473907 h 7484336"/>
                <a:gd name="connsiteX388" fmla="*/ 434630 w 7308033"/>
                <a:gd name="connsiteY388" fmla="*/ 1259520 h 7484336"/>
                <a:gd name="connsiteX389" fmla="*/ 438539 w 7308033"/>
                <a:gd name="connsiteY389" fmla="*/ 1253836 h 7484336"/>
                <a:gd name="connsiteX390" fmla="*/ 441521 w 7308033"/>
                <a:gd name="connsiteY390" fmla="*/ 1250083 h 7484336"/>
                <a:gd name="connsiteX391" fmla="*/ 443846 w 7308033"/>
                <a:gd name="connsiteY391" fmla="*/ 1246116 h 7484336"/>
                <a:gd name="connsiteX392" fmla="*/ 453049 w 7308033"/>
                <a:gd name="connsiteY392" fmla="*/ 1232733 h 7484336"/>
                <a:gd name="connsiteX393" fmla="*/ 483515 w 7308033"/>
                <a:gd name="connsiteY393" fmla="*/ 1198305 h 7484336"/>
                <a:gd name="connsiteX394" fmla="*/ 485826 w 7308033"/>
                <a:gd name="connsiteY394" fmla="*/ 1195883 h 7484336"/>
                <a:gd name="connsiteX395" fmla="*/ 485254 w 7308033"/>
                <a:gd name="connsiteY395" fmla="*/ 1196339 h 7484336"/>
                <a:gd name="connsiteX396" fmla="*/ 483515 w 7308033"/>
                <a:gd name="connsiteY396" fmla="*/ 1198305 h 7484336"/>
                <a:gd name="connsiteX397" fmla="*/ 459198 w 7308033"/>
                <a:gd name="connsiteY397" fmla="*/ 1223789 h 7484336"/>
                <a:gd name="connsiteX398" fmla="*/ 453049 w 7308033"/>
                <a:gd name="connsiteY398" fmla="*/ 1232733 h 7484336"/>
                <a:gd name="connsiteX399" fmla="*/ 449032 w 7308033"/>
                <a:gd name="connsiteY399" fmla="*/ 1237272 h 7484336"/>
                <a:gd name="connsiteX400" fmla="*/ 443846 w 7308033"/>
                <a:gd name="connsiteY400" fmla="*/ 1246116 h 7484336"/>
                <a:gd name="connsiteX401" fmla="*/ 438539 w 7308033"/>
                <a:gd name="connsiteY401" fmla="*/ 1253836 h 7484336"/>
                <a:gd name="connsiteX402" fmla="*/ 431654 w 7308033"/>
                <a:gd name="connsiteY402" fmla="*/ 1262500 h 7484336"/>
                <a:gd name="connsiteX403" fmla="*/ 250022 w 7308033"/>
                <a:gd name="connsiteY403" fmla="*/ 1476886 h 7484336"/>
                <a:gd name="connsiteX404" fmla="*/ 199402 w 7308033"/>
                <a:gd name="connsiteY404" fmla="*/ 1536438 h 7484336"/>
                <a:gd name="connsiteX405" fmla="*/ 148784 w 7308033"/>
                <a:gd name="connsiteY405" fmla="*/ 1598966 h 7484336"/>
                <a:gd name="connsiteX406" fmla="*/ 75627 w 7308033"/>
                <a:gd name="connsiteY406" fmla="*/ 1679824 h 7484336"/>
                <a:gd name="connsiteX407" fmla="*/ 58982 w 7308033"/>
                <a:gd name="connsiteY407" fmla="*/ 1617705 h 7484336"/>
                <a:gd name="connsiteX408" fmla="*/ 170371 w 7308033"/>
                <a:gd name="connsiteY408" fmla="*/ 1479863 h 7484336"/>
                <a:gd name="connsiteX409" fmla="*/ 443564 w 7308033"/>
                <a:gd name="connsiteY409" fmla="*/ 1191037 h 7484336"/>
                <a:gd name="connsiteX410" fmla="*/ 580533 w 7308033"/>
                <a:gd name="connsiteY410" fmla="*/ 1065979 h 7484336"/>
                <a:gd name="connsiteX411" fmla="*/ 908069 w 7308033"/>
                <a:gd name="connsiteY411" fmla="*/ 809905 h 7484336"/>
                <a:gd name="connsiteX412" fmla="*/ 1021217 w 7308033"/>
                <a:gd name="connsiteY412" fmla="*/ 720578 h 7484336"/>
                <a:gd name="connsiteX413" fmla="*/ 1170097 w 7308033"/>
                <a:gd name="connsiteY413" fmla="*/ 643160 h 7484336"/>
                <a:gd name="connsiteX414" fmla="*/ 1265380 w 7308033"/>
                <a:gd name="connsiteY414" fmla="*/ 592540 h 7484336"/>
                <a:gd name="connsiteX415" fmla="*/ 1316001 w 7308033"/>
                <a:gd name="connsiteY415" fmla="*/ 565743 h 7484336"/>
                <a:gd name="connsiteX416" fmla="*/ 1372573 w 7308033"/>
                <a:gd name="connsiteY416" fmla="*/ 544898 h 7484336"/>
                <a:gd name="connsiteX417" fmla="*/ 1560163 w 7308033"/>
                <a:gd name="connsiteY417" fmla="*/ 461525 h 7484336"/>
                <a:gd name="connsiteX418" fmla="*/ 1811397 w 7308033"/>
                <a:gd name="connsiteY418" fmla="*/ 355077 h 7484336"/>
                <a:gd name="connsiteX419" fmla="*/ 1124673 w 7308033"/>
                <a:gd name="connsiteY419" fmla="*/ 520067 h 7484336"/>
                <a:gd name="connsiteX420" fmla="*/ 2022132 w 7308033"/>
                <a:gd name="connsiteY420" fmla="*/ 279593 h 7484336"/>
                <a:gd name="connsiteX421" fmla="*/ 1806557 w 7308033"/>
                <a:gd name="connsiteY421" fmla="*/ 355076 h 7484336"/>
                <a:gd name="connsiteX422" fmla="*/ 1554205 w 7308033"/>
                <a:gd name="connsiteY422" fmla="*/ 461525 h 7484336"/>
                <a:gd name="connsiteX423" fmla="*/ 1366618 w 7308033"/>
                <a:gd name="connsiteY423" fmla="*/ 544898 h 7484336"/>
                <a:gd name="connsiteX424" fmla="*/ 1310042 w 7308033"/>
                <a:gd name="connsiteY424" fmla="*/ 565740 h 7484336"/>
                <a:gd name="connsiteX425" fmla="*/ 1259425 w 7308033"/>
                <a:gd name="connsiteY425" fmla="*/ 592540 h 7484336"/>
                <a:gd name="connsiteX426" fmla="*/ 1164142 w 7308033"/>
                <a:gd name="connsiteY426" fmla="*/ 643157 h 7484336"/>
                <a:gd name="connsiteX427" fmla="*/ 1015262 w 7308033"/>
                <a:gd name="connsiteY427" fmla="*/ 720574 h 7484336"/>
                <a:gd name="connsiteX428" fmla="*/ 902114 w 7308033"/>
                <a:gd name="connsiteY428" fmla="*/ 809902 h 7484336"/>
                <a:gd name="connsiteX429" fmla="*/ 574578 w 7308033"/>
                <a:gd name="connsiteY429" fmla="*/ 1065975 h 7484336"/>
                <a:gd name="connsiteX430" fmla="*/ 506130 w 7308033"/>
                <a:gd name="connsiteY430" fmla="*/ 1125496 h 7484336"/>
                <a:gd name="connsiteX431" fmla="*/ 439166 w 7308033"/>
                <a:gd name="connsiteY431" fmla="*/ 1186639 h 7484336"/>
                <a:gd name="connsiteX432" fmla="*/ 440585 w 7308033"/>
                <a:gd name="connsiteY432" fmla="*/ 1188058 h 7484336"/>
                <a:gd name="connsiteX433" fmla="*/ 167392 w 7308033"/>
                <a:gd name="connsiteY433" fmla="*/ 1478001 h 7484336"/>
                <a:gd name="connsiteX434" fmla="*/ 57891 w 7308033"/>
                <a:gd name="connsiteY434" fmla="*/ 1613630 h 7484336"/>
                <a:gd name="connsiteX435" fmla="*/ 0 w 7308033"/>
                <a:gd name="connsiteY435" fmla="*/ 1397579 h 7484336"/>
                <a:gd name="connsiteX436" fmla="*/ 20746 w 7308033"/>
                <a:gd name="connsiteY436" fmla="*/ 1378624 h 7484336"/>
                <a:gd name="connsiteX437" fmla="*/ 23259 w 7308033"/>
                <a:gd name="connsiteY437" fmla="*/ 1423427 h 7484336"/>
                <a:gd name="connsiteX438" fmla="*/ 16526 w 7308033"/>
                <a:gd name="connsiteY438" fmla="*/ 1442259 h 7484336"/>
                <a:gd name="connsiteX439" fmla="*/ 113050 w 7308033"/>
                <a:gd name="connsiteY439" fmla="*/ 1342893 h 7484336"/>
                <a:gd name="connsiteX440" fmla="*/ 160691 w 7308033"/>
                <a:gd name="connsiteY440" fmla="*/ 1280365 h 7484336"/>
                <a:gd name="connsiteX441" fmla="*/ 223222 w 7308033"/>
                <a:gd name="connsiteY441" fmla="*/ 1220813 h 7484336"/>
                <a:gd name="connsiteX442" fmla="*/ 228612 w 7308033"/>
                <a:gd name="connsiteY442" fmla="*/ 1226800 h 7484336"/>
                <a:gd name="connsiteX443" fmla="*/ 226201 w 7308033"/>
                <a:gd name="connsiteY443" fmla="*/ 1223789 h 7484336"/>
                <a:gd name="connsiteX444" fmla="*/ 303619 w 7308033"/>
                <a:gd name="connsiteY444" fmla="*/ 1146372 h 7484336"/>
                <a:gd name="connsiteX445" fmla="*/ 381036 w 7308033"/>
                <a:gd name="connsiteY445" fmla="*/ 1074910 h 7484336"/>
                <a:gd name="connsiteX446" fmla="*/ 464409 w 7308033"/>
                <a:gd name="connsiteY446" fmla="*/ 985582 h 7484336"/>
                <a:gd name="connsiteX447" fmla="*/ 580534 w 7308033"/>
                <a:gd name="connsiteY447" fmla="*/ 899230 h 7484336"/>
                <a:gd name="connsiteX448" fmla="*/ 705592 w 7308033"/>
                <a:gd name="connsiteY448" fmla="*/ 806926 h 7484336"/>
                <a:gd name="connsiteX449" fmla="*/ 780365 w 7308033"/>
                <a:gd name="connsiteY449" fmla="*/ 754761 h 7484336"/>
                <a:gd name="connsiteX450" fmla="*/ 830651 w 7308033"/>
                <a:gd name="connsiteY450" fmla="*/ 708664 h 7484336"/>
                <a:gd name="connsiteX451" fmla="*/ 919979 w 7308033"/>
                <a:gd name="connsiteY451" fmla="*/ 655067 h 7484336"/>
                <a:gd name="connsiteX452" fmla="*/ 1015262 w 7308033"/>
                <a:gd name="connsiteY452" fmla="*/ 604450 h 7484336"/>
                <a:gd name="connsiteX453" fmla="*/ 1027876 w 7308033"/>
                <a:gd name="connsiteY453" fmla="*/ 597963 h 7484336"/>
                <a:gd name="connsiteX454" fmla="*/ 1060299 w 7308033"/>
                <a:gd name="connsiteY454" fmla="*/ 566115 h 7484336"/>
                <a:gd name="connsiteX455" fmla="*/ 1113524 w 7308033"/>
                <a:gd name="connsiteY455" fmla="*/ 527032 h 7484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</a:cxnLst>
              <a:rect l="l" t="t" r="r" b="b"/>
              <a:pathLst>
                <a:path w="7308033" h="7484336">
                  <a:moveTo>
                    <a:pt x="6913876" y="5776530"/>
                  </a:moveTo>
                  <a:cubicBezTo>
                    <a:pt x="6904942" y="5815238"/>
                    <a:pt x="6893031" y="5850969"/>
                    <a:pt x="6875166" y="5892655"/>
                  </a:cubicBezTo>
                  <a:cubicBezTo>
                    <a:pt x="6857300" y="5931366"/>
                    <a:pt x="6836458" y="5973052"/>
                    <a:pt x="6806682" y="6017714"/>
                  </a:cubicBezTo>
                  <a:cubicBezTo>
                    <a:pt x="6794772" y="6041535"/>
                    <a:pt x="6782862" y="6064611"/>
                    <a:pt x="6771323" y="6086199"/>
                  </a:cubicBezTo>
                  <a:lnTo>
                    <a:pt x="6757742" y="6110614"/>
                  </a:lnTo>
                  <a:lnTo>
                    <a:pt x="6727685" y="6118668"/>
                  </a:lnTo>
                  <a:lnTo>
                    <a:pt x="6753086" y="6059400"/>
                  </a:lnTo>
                  <a:cubicBezTo>
                    <a:pt x="6764996" y="6041535"/>
                    <a:pt x="6770951" y="6029624"/>
                    <a:pt x="6779882" y="6014738"/>
                  </a:cubicBezTo>
                  <a:cubicBezTo>
                    <a:pt x="6791793" y="5993894"/>
                    <a:pt x="6803704" y="5976028"/>
                    <a:pt x="6815614" y="5955186"/>
                  </a:cubicBezTo>
                  <a:cubicBezTo>
                    <a:pt x="6827524" y="5934342"/>
                    <a:pt x="6836459" y="5916476"/>
                    <a:pt x="6848369" y="5895635"/>
                  </a:cubicBezTo>
                  <a:cubicBezTo>
                    <a:pt x="6869210" y="5856924"/>
                    <a:pt x="6893031" y="5818217"/>
                    <a:pt x="6913876" y="5776530"/>
                  </a:cubicBezTo>
                  <a:close/>
                  <a:moveTo>
                    <a:pt x="6721144" y="5521292"/>
                  </a:moveTo>
                  <a:lnTo>
                    <a:pt x="6648868" y="5648492"/>
                  </a:lnTo>
                  <a:lnTo>
                    <a:pt x="6647540" y="5651550"/>
                  </a:lnTo>
                  <a:lnTo>
                    <a:pt x="6720331" y="5523433"/>
                  </a:lnTo>
                  <a:close/>
                  <a:moveTo>
                    <a:pt x="7114698" y="4793131"/>
                  </a:moveTo>
                  <a:lnTo>
                    <a:pt x="7113630" y="4798399"/>
                  </a:lnTo>
                  <a:lnTo>
                    <a:pt x="7122304" y="4808811"/>
                  </a:lnTo>
                  <a:cubicBezTo>
                    <a:pt x="7131239" y="4817745"/>
                    <a:pt x="7140170" y="4829656"/>
                    <a:pt x="7149104" y="4838587"/>
                  </a:cubicBezTo>
                  <a:lnTo>
                    <a:pt x="7157044" y="4831309"/>
                  </a:lnTo>
                  <a:lnTo>
                    <a:pt x="7159029" y="4829985"/>
                  </a:lnTo>
                  <a:lnTo>
                    <a:pt x="7166970" y="4826677"/>
                  </a:lnTo>
                  <a:lnTo>
                    <a:pt x="7167420" y="4824391"/>
                  </a:lnTo>
                  <a:lnTo>
                    <a:pt x="7159029" y="4829985"/>
                  </a:lnTo>
                  <a:lnTo>
                    <a:pt x="7158037" y="4830399"/>
                  </a:lnTo>
                  <a:lnTo>
                    <a:pt x="7157044" y="4831309"/>
                  </a:lnTo>
                  <a:lnTo>
                    <a:pt x="7155060" y="4832632"/>
                  </a:lnTo>
                  <a:cubicBezTo>
                    <a:pt x="7143149" y="4826677"/>
                    <a:pt x="7134218" y="4814766"/>
                    <a:pt x="7125284" y="4805832"/>
                  </a:cubicBezTo>
                  <a:close/>
                  <a:moveTo>
                    <a:pt x="7152080" y="4391948"/>
                  </a:moveTo>
                  <a:lnTo>
                    <a:pt x="7117409" y="4536420"/>
                  </a:lnTo>
                  <a:lnTo>
                    <a:pt x="7117412" y="4536420"/>
                  </a:lnTo>
                  <a:lnTo>
                    <a:pt x="7152083" y="4391952"/>
                  </a:lnTo>
                  <a:close/>
                  <a:moveTo>
                    <a:pt x="7178880" y="4362173"/>
                  </a:moveTo>
                  <a:cubicBezTo>
                    <a:pt x="7172925" y="4374083"/>
                    <a:pt x="7166970" y="4383017"/>
                    <a:pt x="7161015" y="4400883"/>
                  </a:cubicBezTo>
                  <a:lnTo>
                    <a:pt x="7156923" y="4482020"/>
                  </a:lnTo>
                  <a:cubicBezTo>
                    <a:pt x="7156551" y="4505097"/>
                    <a:pt x="7156550" y="4527429"/>
                    <a:pt x="7155060" y="4558694"/>
                  </a:cubicBezTo>
                  <a:lnTo>
                    <a:pt x="7125284" y="4650316"/>
                  </a:lnTo>
                  <a:lnTo>
                    <a:pt x="7125283" y="4660782"/>
                  </a:lnTo>
                  <a:lnTo>
                    <a:pt x="7161015" y="4558693"/>
                  </a:lnTo>
                  <a:cubicBezTo>
                    <a:pt x="7163993" y="4496163"/>
                    <a:pt x="7161014" y="4469366"/>
                    <a:pt x="7166970" y="4400880"/>
                  </a:cubicBezTo>
                  <a:lnTo>
                    <a:pt x="7180853" y="4370804"/>
                  </a:lnTo>
                  <a:close/>
                  <a:moveTo>
                    <a:pt x="7050842" y="4234134"/>
                  </a:moveTo>
                  <a:lnTo>
                    <a:pt x="7031332" y="4280253"/>
                  </a:lnTo>
                  <a:lnTo>
                    <a:pt x="7024045" y="4347286"/>
                  </a:lnTo>
                  <a:lnTo>
                    <a:pt x="7014651" y="4315972"/>
                  </a:lnTo>
                  <a:lnTo>
                    <a:pt x="7011215" y="4320392"/>
                  </a:lnTo>
                  <a:lnTo>
                    <a:pt x="7021069" y="4353241"/>
                  </a:lnTo>
                  <a:cubicBezTo>
                    <a:pt x="7018090" y="4368128"/>
                    <a:pt x="7018090" y="4383017"/>
                    <a:pt x="7015114" y="4400882"/>
                  </a:cubicBezTo>
                  <a:cubicBezTo>
                    <a:pt x="7021069" y="4409814"/>
                    <a:pt x="7024045" y="4424704"/>
                    <a:pt x="7027025" y="4439590"/>
                  </a:cubicBezTo>
                  <a:lnTo>
                    <a:pt x="7036255" y="4439077"/>
                  </a:lnTo>
                  <a:lnTo>
                    <a:pt x="7030001" y="4418745"/>
                  </a:lnTo>
                  <a:cubicBezTo>
                    <a:pt x="7032977" y="4400880"/>
                    <a:pt x="7032977" y="4385993"/>
                    <a:pt x="7035955" y="4371104"/>
                  </a:cubicBezTo>
                  <a:cubicBezTo>
                    <a:pt x="7041911" y="4329417"/>
                    <a:pt x="7044887" y="4281776"/>
                    <a:pt x="7050842" y="4234134"/>
                  </a:cubicBezTo>
                  <a:close/>
                  <a:moveTo>
                    <a:pt x="7300963" y="4153741"/>
                  </a:moveTo>
                  <a:cubicBezTo>
                    <a:pt x="7303939" y="4156717"/>
                    <a:pt x="7303939" y="4156717"/>
                    <a:pt x="7306918" y="4156717"/>
                  </a:cubicBezTo>
                  <a:cubicBezTo>
                    <a:pt x="7306918" y="4207338"/>
                    <a:pt x="7303939" y="4249024"/>
                    <a:pt x="7303939" y="4281775"/>
                  </a:cubicBezTo>
                  <a:cubicBezTo>
                    <a:pt x="7303939" y="4314531"/>
                    <a:pt x="7306918" y="4341328"/>
                    <a:pt x="7306918" y="4368127"/>
                  </a:cubicBezTo>
                  <a:cubicBezTo>
                    <a:pt x="7309894" y="4418745"/>
                    <a:pt x="7306918" y="4457456"/>
                    <a:pt x="7297984" y="4525938"/>
                  </a:cubicBezTo>
                  <a:cubicBezTo>
                    <a:pt x="7300963" y="4543804"/>
                    <a:pt x="7295008" y="4573580"/>
                    <a:pt x="7289052" y="4615266"/>
                  </a:cubicBezTo>
                  <a:cubicBezTo>
                    <a:pt x="7280118" y="4653976"/>
                    <a:pt x="7271187" y="4701618"/>
                    <a:pt x="7262253" y="4746280"/>
                  </a:cubicBezTo>
                  <a:cubicBezTo>
                    <a:pt x="7259277" y="4782012"/>
                    <a:pt x="7259277" y="4820722"/>
                    <a:pt x="7253322" y="4856452"/>
                  </a:cubicBezTo>
                  <a:cubicBezTo>
                    <a:pt x="7232476" y="4921960"/>
                    <a:pt x="7229500" y="4975557"/>
                    <a:pt x="7208656" y="5058929"/>
                  </a:cubicBezTo>
                  <a:cubicBezTo>
                    <a:pt x="7193769" y="5118481"/>
                    <a:pt x="7181859" y="5178033"/>
                    <a:pt x="7166969" y="5234606"/>
                  </a:cubicBezTo>
                  <a:cubicBezTo>
                    <a:pt x="7131239" y="5270337"/>
                    <a:pt x="7134217" y="5216740"/>
                    <a:pt x="7092532" y="5267360"/>
                  </a:cubicBezTo>
                  <a:cubicBezTo>
                    <a:pt x="7092532" y="5264381"/>
                    <a:pt x="7095507" y="5252471"/>
                    <a:pt x="7098487" y="5249495"/>
                  </a:cubicBezTo>
                  <a:cubicBezTo>
                    <a:pt x="7101462" y="5201854"/>
                    <a:pt x="7089552" y="5192922"/>
                    <a:pt x="7110397" y="5124436"/>
                  </a:cubicBezTo>
                  <a:cubicBezTo>
                    <a:pt x="7125283" y="5082750"/>
                    <a:pt x="7143149" y="5038088"/>
                    <a:pt x="7155060" y="4993422"/>
                  </a:cubicBezTo>
                  <a:lnTo>
                    <a:pt x="7190791" y="4972581"/>
                  </a:lnTo>
                  <a:lnTo>
                    <a:pt x="7190791" y="4972577"/>
                  </a:lnTo>
                  <a:cubicBezTo>
                    <a:pt x="7217590" y="4853473"/>
                    <a:pt x="7208656" y="4826677"/>
                    <a:pt x="7229501" y="4746280"/>
                  </a:cubicBezTo>
                  <a:cubicBezTo>
                    <a:pt x="7235456" y="4710549"/>
                    <a:pt x="7244387" y="4674818"/>
                    <a:pt x="7250343" y="4639087"/>
                  </a:cubicBezTo>
                  <a:cubicBezTo>
                    <a:pt x="7256297" y="4603356"/>
                    <a:pt x="7262252" y="4564648"/>
                    <a:pt x="7268208" y="4528918"/>
                  </a:cubicBezTo>
                  <a:cubicBezTo>
                    <a:pt x="7274163" y="4493187"/>
                    <a:pt x="7277142" y="4457456"/>
                    <a:pt x="7283097" y="4424700"/>
                  </a:cubicBezTo>
                  <a:cubicBezTo>
                    <a:pt x="7286073" y="4391948"/>
                    <a:pt x="7289052" y="4359193"/>
                    <a:pt x="7289052" y="4326441"/>
                  </a:cubicBezTo>
                  <a:cubicBezTo>
                    <a:pt x="7286073" y="4302621"/>
                    <a:pt x="7289053" y="4272845"/>
                    <a:pt x="7292029" y="4243069"/>
                  </a:cubicBezTo>
                  <a:cubicBezTo>
                    <a:pt x="7295007" y="4228179"/>
                    <a:pt x="7295007" y="4213293"/>
                    <a:pt x="7297984" y="4198403"/>
                  </a:cubicBezTo>
                  <a:cubicBezTo>
                    <a:pt x="7297984" y="4183517"/>
                    <a:pt x="7300963" y="4168627"/>
                    <a:pt x="7300963" y="4153741"/>
                  </a:cubicBezTo>
                  <a:close/>
                  <a:moveTo>
                    <a:pt x="4874223" y="452594"/>
                  </a:moveTo>
                  <a:cubicBezTo>
                    <a:pt x="4942706" y="479391"/>
                    <a:pt x="4990348" y="500236"/>
                    <a:pt x="5026078" y="521077"/>
                  </a:cubicBezTo>
                  <a:cubicBezTo>
                    <a:pt x="5061809" y="538943"/>
                    <a:pt x="5082655" y="556808"/>
                    <a:pt x="5091585" y="574674"/>
                  </a:cubicBezTo>
                  <a:cubicBezTo>
                    <a:pt x="5035013" y="544898"/>
                    <a:pt x="4984392" y="524057"/>
                    <a:pt x="4945685" y="503212"/>
                  </a:cubicBezTo>
                  <a:cubicBezTo>
                    <a:pt x="4906975" y="482370"/>
                    <a:pt x="4883154" y="464505"/>
                    <a:pt x="4874223" y="452594"/>
                  </a:cubicBezTo>
                  <a:close/>
                  <a:moveTo>
                    <a:pt x="4379943" y="235228"/>
                  </a:moveTo>
                  <a:cubicBezTo>
                    <a:pt x="4406739" y="235228"/>
                    <a:pt x="4451404" y="244160"/>
                    <a:pt x="4499046" y="262025"/>
                  </a:cubicBezTo>
                  <a:cubicBezTo>
                    <a:pt x="4549663" y="282870"/>
                    <a:pt x="4606240" y="312646"/>
                    <a:pt x="4665792" y="345398"/>
                  </a:cubicBezTo>
                  <a:cubicBezTo>
                    <a:pt x="4505002" y="294780"/>
                    <a:pt x="4397808" y="262025"/>
                    <a:pt x="4379943" y="235228"/>
                  </a:cubicBezTo>
                  <a:close/>
                  <a:moveTo>
                    <a:pt x="3998811" y="128035"/>
                  </a:moveTo>
                  <a:cubicBezTo>
                    <a:pt x="4040496" y="131011"/>
                    <a:pt x="4079204" y="133990"/>
                    <a:pt x="4120890" y="136966"/>
                  </a:cubicBezTo>
                  <a:cubicBezTo>
                    <a:pt x="4171511" y="151856"/>
                    <a:pt x="4219152" y="175677"/>
                    <a:pt x="4269770" y="196518"/>
                  </a:cubicBezTo>
                  <a:cubicBezTo>
                    <a:pt x="4198308" y="187587"/>
                    <a:pt x="4132800" y="172697"/>
                    <a:pt x="4085159" y="163766"/>
                  </a:cubicBezTo>
                  <a:cubicBezTo>
                    <a:pt x="4037517" y="151856"/>
                    <a:pt x="4004766" y="139945"/>
                    <a:pt x="3998811" y="128035"/>
                  </a:cubicBezTo>
                  <a:close/>
                  <a:moveTo>
                    <a:pt x="550622" y="992975"/>
                  </a:moveTo>
                  <a:cubicBezTo>
                    <a:pt x="546123" y="994683"/>
                    <a:pt x="540937" y="997078"/>
                    <a:pt x="535712" y="999512"/>
                  </a:cubicBezTo>
                  <a:lnTo>
                    <a:pt x="516599" y="1006608"/>
                  </a:lnTo>
                  <a:lnTo>
                    <a:pt x="512050" y="1012379"/>
                  </a:lnTo>
                  <a:cubicBezTo>
                    <a:pt x="500140" y="1021313"/>
                    <a:pt x="488230" y="1030244"/>
                    <a:pt x="479295" y="1042154"/>
                  </a:cubicBezTo>
                  <a:cubicBezTo>
                    <a:pt x="449519" y="1060020"/>
                    <a:pt x="425699" y="1074910"/>
                    <a:pt x="395923" y="1095751"/>
                  </a:cubicBezTo>
                  <a:lnTo>
                    <a:pt x="339350" y="1158282"/>
                  </a:lnTo>
                  <a:lnTo>
                    <a:pt x="285753" y="1220810"/>
                  </a:lnTo>
                  <a:cubicBezTo>
                    <a:pt x="273843" y="1229744"/>
                    <a:pt x="264909" y="1238676"/>
                    <a:pt x="250022" y="1253565"/>
                  </a:cubicBezTo>
                  <a:lnTo>
                    <a:pt x="248809" y="1252046"/>
                  </a:lnTo>
                  <a:lnTo>
                    <a:pt x="215035" y="1292647"/>
                  </a:lnTo>
                  <a:cubicBezTo>
                    <a:pt x="203125" y="1309397"/>
                    <a:pt x="187491" y="1330986"/>
                    <a:pt x="157715" y="1363738"/>
                  </a:cubicBezTo>
                  <a:lnTo>
                    <a:pt x="65411" y="1464976"/>
                  </a:lnTo>
                  <a:lnTo>
                    <a:pt x="80298" y="1482838"/>
                  </a:lnTo>
                  <a:lnTo>
                    <a:pt x="80582" y="1482588"/>
                  </a:lnTo>
                  <a:lnTo>
                    <a:pt x="68387" y="1467952"/>
                  </a:lnTo>
                  <a:cubicBezTo>
                    <a:pt x="98163" y="1435200"/>
                    <a:pt x="133895" y="1399469"/>
                    <a:pt x="160691" y="1366714"/>
                  </a:cubicBezTo>
                  <a:cubicBezTo>
                    <a:pt x="220243" y="1301207"/>
                    <a:pt x="223222" y="1280365"/>
                    <a:pt x="252998" y="1253565"/>
                  </a:cubicBezTo>
                  <a:cubicBezTo>
                    <a:pt x="267885" y="1238679"/>
                    <a:pt x="279795" y="1229744"/>
                    <a:pt x="288729" y="1220813"/>
                  </a:cubicBezTo>
                  <a:lnTo>
                    <a:pt x="342326" y="1158282"/>
                  </a:lnTo>
                  <a:lnTo>
                    <a:pt x="398899" y="1095754"/>
                  </a:lnTo>
                  <a:cubicBezTo>
                    <a:pt x="428675" y="1077889"/>
                    <a:pt x="452495" y="1062999"/>
                    <a:pt x="482271" y="1042158"/>
                  </a:cubicBezTo>
                  <a:cubicBezTo>
                    <a:pt x="494182" y="1033223"/>
                    <a:pt x="506092" y="1021313"/>
                    <a:pt x="515026" y="1012382"/>
                  </a:cubicBezTo>
                  <a:cubicBezTo>
                    <a:pt x="520982" y="1013870"/>
                    <a:pt x="537359" y="1004939"/>
                    <a:pt x="550758" y="998983"/>
                  </a:cubicBezTo>
                  <a:lnTo>
                    <a:pt x="562036" y="995482"/>
                  </a:lnTo>
                  <a:lnTo>
                    <a:pt x="561411" y="990559"/>
                  </a:lnTo>
                  <a:cubicBezTo>
                    <a:pt x="558934" y="990246"/>
                    <a:pt x="555122" y="991267"/>
                    <a:pt x="550622" y="992975"/>
                  </a:cubicBezTo>
                  <a:close/>
                  <a:moveTo>
                    <a:pt x="3599813" y="151856"/>
                  </a:moveTo>
                  <a:cubicBezTo>
                    <a:pt x="3613211" y="150368"/>
                    <a:pt x="3631821" y="150368"/>
                    <a:pt x="3652293" y="151484"/>
                  </a:cubicBezTo>
                  <a:cubicBezTo>
                    <a:pt x="3672763" y="152600"/>
                    <a:pt x="3695096" y="154835"/>
                    <a:pt x="3715937" y="157811"/>
                  </a:cubicBezTo>
                  <a:cubicBezTo>
                    <a:pt x="3757624" y="163766"/>
                    <a:pt x="3793355" y="175677"/>
                    <a:pt x="3802289" y="187587"/>
                  </a:cubicBezTo>
                  <a:cubicBezTo>
                    <a:pt x="3784424" y="184611"/>
                    <a:pt x="3766558" y="181632"/>
                    <a:pt x="3736782" y="178656"/>
                  </a:cubicBezTo>
                  <a:cubicBezTo>
                    <a:pt x="3707007" y="175677"/>
                    <a:pt x="3665320" y="166745"/>
                    <a:pt x="3599813" y="151856"/>
                  </a:cubicBezTo>
                  <a:close/>
                  <a:moveTo>
                    <a:pt x="1994473" y="334850"/>
                  </a:moveTo>
                  <a:lnTo>
                    <a:pt x="1968092" y="345401"/>
                  </a:lnTo>
                  <a:cubicBezTo>
                    <a:pt x="1908540" y="366242"/>
                    <a:pt x="1846012" y="384108"/>
                    <a:pt x="1786460" y="407929"/>
                  </a:cubicBezTo>
                  <a:cubicBezTo>
                    <a:pt x="1726908" y="431749"/>
                    <a:pt x="1667357" y="452594"/>
                    <a:pt x="1607805" y="479391"/>
                  </a:cubicBezTo>
                  <a:cubicBezTo>
                    <a:pt x="1563139" y="500236"/>
                    <a:pt x="1521453" y="518101"/>
                    <a:pt x="1482746" y="535967"/>
                  </a:cubicBezTo>
                  <a:cubicBezTo>
                    <a:pt x="1455946" y="541922"/>
                    <a:pt x="1426170" y="556808"/>
                    <a:pt x="1399373" y="568719"/>
                  </a:cubicBezTo>
                  <a:cubicBezTo>
                    <a:pt x="1327911" y="595519"/>
                    <a:pt x="1262404" y="631250"/>
                    <a:pt x="1193918" y="664002"/>
                  </a:cubicBezTo>
                  <a:cubicBezTo>
                    <a:pt x="1161166" y="681867"/>
                    <a:pt x="1128411" y="705688"/>
                    <a:pt x="1095659" y="726533"/>
                  </a:cubicBezTo>
                  <a:cubicBezTo>
                    <a:pt x="1062904" y="747374"/>
                    <a:pt x="1030152" y="768219"/>
                    <a:pt x="1000376" y="789061"/>
                  </a:cubicBezTo>
                  <a:cubicBezTo>
                    <a:pt x="964645" y="824792"/>
                    <a:pt x="899138" y="875412"/>
                    <a:pt x="848517" y="902209"/>
                  </a:cubicBezTo>
                  <a:cubicBezTo>
                    <a:pt x="800875" y="937940"/>
                    <a:pt x="753234" y="976651"/>
                    <a:pt x="705592" y="1015358"/>
                  </a:cubicBezTo>
                  <a:lnTo>
                    <a:pt x="568804" y="1134687"/>
                  </a:lnTo>
                  <a:lnTo>
                    <a:pt x="580534" y="1149351"/>
                  </a:lnTo>
                  <a:cubicBezTo>
                    <a:pt x="586489" y="1146375"/>
                    <a:pt x="597099" y="1138744"/>
                    <a:pt x="609565" y="1129438"/>
                  </a:cubicBezTo>
                  <a:lnTo>
                    <a:pt x="634277" y="1111019"/>
                  </a:lnTo>
                  <a:lnTo>
                    <a:pt x="723458" y="1033223"/>
                  </a:lnTo>
                  <a:cubicBezTo>
                    <a:pt x="771099" y="994513"/>
                    <a:pt x="818741" y="958782"/>
                    <a:pt x="866382" y="920075"/>
                  </a:cubicBezTo>
                  <a:cubicBezTo>
                    <a:pt x="917000" y="893275"/>
                    <a:pt x="979531" y="842657"/>
                    <a:pt x="1018238" y="806926"/>
                  </a:cubicBezTo>
                  <a:cubicBezTo>
                    <a:pt x="1050993" y="786082"/>
                    <a:pt x="1080769" y="765240"/>
                    <a:pt x="1113521" y="744395"/>
                  </a:cubicBezTo>
                  <a:cubicBezTo>
                    <a:pt x="1146276" y="723554"/>
                    <a:pt x="1176052" y="702709"/>
                    <a:pt x="1211783" y="681867"/>
                  </a:cubicBezTo>
                  <a:cubicBezTo>
                    <a:pt x="1280266" y="649112"/>
                    <a:pt x="1348753" y="613381"/>
                    <a:pt x="1417236" y="586584"/>
                  </a:cubicBezTo>
                  <a:cubicBezTo>
                    <a:pt x="1444035" y="574674"/>
                    <a:pt x="1473811" y="559784"/>
                    <a:pt x="1497632" y="544898"/>
                  </a:cubicBezTo>
                  <a:cubicBezTo>
                    <a:pt x="1536340" y="527032"/>
                    <a:pt x="1581005" y="509167"/>
                    <a:pt x="1622691" y="488322"/>
                  </a:cubicBezTo>
                  <a:cubicBezTo>
                    <a:pt x="1682243" y="461525"/>
                    <a:pt x="1741795" y="440681"/>
                    <a:pt x="1801347" y="416860"/>
                  </a:cubicBezTo>
                  <a:cubicBezTo>
                    <a:pt x="1860899" y="393039"/>
                    <a:pt x="1923426" y="375174"/>
                    <a:pt x="1982978" y="354332"/>
                  </a:cubicBezTo>
                  <a:lnTo>
                    <a:pt x="2059277" y="339346"/>
                  </a:lnTo>
                  <a:lnTo>
                    <a:pt x="2096133" y="326751"/>
                  </a:lnTo>
                  <a:lnTo>
                    <a:pt x="2597795" y="218526"/>
                  </a:lnTo>
                  <a:lnTo>
                    <a:pt x="2587435" y="215503"/>
                  </a:lnTo>
                  <a:cubicBezTo>
                    <a:pt x="2575524" y="214387"/>
                    <a:pt x="2557659" y="215875"/>
                    <a:pt x="2524903" y="223318"/>
                  </a:cubicBezTo>
                  <a:cubicBezTo>
                    <a:pt x="2483217" y="229273"/>
                    <a:pt x="2435576" y="235228"/>
                    <a:pt x="2390910" y="241184"/>
                  </a:cubicBezTo>
                  <a:cubicBezTo>
                    <a:pt x="2349224" y="250118"/>
                    <a:pt x="2301582" y="262028"/>
                    <a:pt x="2259896" y="270959"/>
                  </a:cubicBezTo>
                  <a:cubicBezTo>
                    <a:pt x="2242030" y="276915"/>
                    <a:pt x="2224165" y="282870"/>
                    <a:pt x="2203324" y="288825"/>
                  </a:cubicBezTo>
                  <a:cubicBezTo>
                    <a:pt x="2182479" y="294780"/>
                    <a:pt x="2161637" y="300735"/>
                    <a:pt x="2137816" y="306691"/>
                  </a:cubicBezTo>
                  <a:close/>
                  <a:moveTo>
                    <a:pt x="2046992" y="272932"/>
                  </a:moveTo>
                  <a:lnTo>
                    <a:pt x="2096621" y="259634"/>
                  </a:lnTo>
                  <a:lnTo>
                    <a:pt x="2215233" y="244163"/>
                  </a:lnTo>
                  <a:cubicBezTo>
                    <a:pt x="2245010" y="232252"/>
                    <a:pt x="2277762" y="220342"/>
                    <a:pt x="2313493" y="208432"/>
                  </a:cubicBezTo>
                  <a:cubicBezTo>
                    <a:pt x="2349224" y="196521"/>
                    <a:pt x="2387934" y="184611"/>
                    <a:pt x="2426642" y="178656"/>
                  </a:cubicBezTo>
                  <a:cubicBezTo>
                    <a:pt x="2507038" y="163766"/>
                    <a:pt x="2590410" y="148880"/>
                    <a:pt x="2664849" y="145901"/>
                  </a:cubicBezTo>
                  <a:cubicBezTo>
                    <a:pt x="2779489" y="135478"/>
                    <a:pt x="2894125" y="129523"/>
                    <a:pt x="3008762" y="128407"/>
                  </a:cubicBezTo>
                  <a:lnTo>
                    <a:pt x="3285189" y="137682"/>
                  </a:lnTo>
                  <a:lnTo>
                    <a:pt x="3002806" y="127291"/>
                  </a:lnTo>
                  <a:cubicBezTo>
                    <a:pt x="2888170" y="128035"/>
                    <a:pt x="2773530" y="133990"/>
                    <a:pt x="2658894" y="145901"/>
                  </a:cubicBezTo>
                  <a:cubicBezTo>
                    <a:pt x="2581476" y="148877"/>
                    <a:pt x="2501080" y="163766"/>
                    <a:pt x="2420686" y="178653"/>
                  </a:cubicBezTo>
                  <a:cubicBezTo>
                    <a:pt x="2381976" y="184608"/>
                    <a:pt x="2343269" y="196518"/>
                    <a:pt x="2307538" y="208428"/>
                  </a:cubicBezTo>
                  <a:cubicBezTo>
                    <a:pt x="2271807" y="220339"/>
                    <a:pt x="2239051" y="232249"/>
                    <a:pt x="2209275" y="244160"/>
                  </a:cubicBezTo>
                  <a:lnTo>
                    <a:pt x="2102296" y="258113"/>
                  </a:lnTo>
                  <a:lnTo>
                    <a:pt x="3008390" y="15326"/>
                  </a:lnTo>
                  <a:lnTo>
                    <a:pt x="3013414" y="15352"/>
                  </a:lnTo>
                  <a:cubicBezTo>
                    <a:pt x="3045795" y="15072"/>
                    <a:pt x="3079478" y="14514"/>
                    <a:pt x="3113720" y="14143"/>
                  </a:cubicBezTo>
                  <a:cubicBezTo>
                    <a:pt x="3182206" y="13395"/>
                    <a:pt x="3252924" y="13395"/>
                    <a:pt x="3319919" y="17863"/>
                  </a:cubicBezTo>
                  <a:lnTo>
                    <a:pt x="3323758" y="20742"/>
                  </a:lnTo>
                  <a:lnTo>
                    <a:pt x="3424136" y="8931"/>
                  </a:lnTo>
                  <a:cubicBezTo>
                    <a:pt x="3456889" y="14887"/>
                    <a:pt x="3486665" y="17863"/>
                    <a:pt x="3516441" y="23818"/>
                  </a:cubicBezTo>
                  <a:cubicBezTo>
                    <a:pt x="3546216" y="29773"/>
                    <a:pt x="3575992" y="32752"/>
                    <a:pt x="3608747" y="41683"/>
                  </a:cubicBezTo>
                  <a:lnTo>
                    <a:pt x="3656370" y="52509"/>
                  </a:lnTo>
                  <a:lnTo>
                    <a:pt x="3605768" y="38707"/>
                  </a:lnTo>
                  <a:cubicBezTo>
                    <a:pt x="3575992" y="32752"/>
                    <a:pt x="3543237" y="26797"/>
                    <a:pt x="3513461" y="20842"/>
                  </a:cubicBezTo>
                  <a:cubicBezTo>
                    <a:pt x="3483685" y="14887"/>
                    <a:pt x="3453909" y="11910"/>
                    <a:pt x="3421157" y="5955"/>
                  </a:cubicBezTo>
                  <a:cubicBezTo>
                    <a:pt x="3421157" y="5955"/>
                    <a:pt x="3421158" y="2976"/>
                    <a:pt x="3421158" y="0"/>
                  </a:cubicBezTo>
                  <a:cubicBezTo>
                    <a:pt x="3465819" y="2976"/>
                    <a:pt x="3516441" y="5955"/>
                    <a:pt x="3561102" y="8931"/>
                  </a:cubicBezTo>
                  <a:cubicBezTo>
                    <a:pt x="3611724" y="11910"/>
                    <a:pt x="3659365" y="17866"/>
                    <a:pt x="3704027" y="23821"/>
                  </a:cubicBezTo>
                  <a:cubicBezTo>
                    <a:pt x="3751669" y="26797"/>
                    <a:pt x="3778469" y="35731"/>
                    <a:pt x="3799310" y="47642"/>
                  </a:cubicBezTo>
                  <a:cubicBezTo>
                    <a:pt x="3820155" y="59552"/>
                    <a:pt x="3835041" y="71462"/>
                    <a:pt x="3861841" y="77418"/>
                  </a:cubicBezTo>
                  <a:cubicBezTo>
                    <a:pt x="3903528" y="77418"/>
                    <a:pt x="3885662" y="53597"/>
                    <a:pt x="3939259" y="62528"/>
                  </a:cubicBezTo>
                  <a:cubicBezTo>
                    <a:pt x="3977966" y="68483"/>
                    <a:pt x="4016676" y="80394"/>
                    <a:pt x="4055383" y="89328"/>
                  </a:cubicBezTo>
                  <a:cubicBezTo>
                    <a:pt x="4079204" y="95283"/>
                    <a:pt x="4103025" y="104214"/>
                    <a:pt x="4126846" y="110169"/>
                  </a:cubicBezTo>
                  <a:cubicBezTo>
                    <a:pt x="4126846" y="110169"/>
                    <a:pt x="4126846" y="113149"/>
                    <a:pt x="4123870" y="113149"/>
                  </a:cubicBezTo>
                  <a:cubicBezTo>
                    <a:pt x="4126846" y="122080"/>
                    <a:pt x="4123870" y="128035"/>
                    <a:pt x="4120890" y="133990"/>
                  </a:cubicBezTo>
                  <a:cubicBezTo>
                    <a:pt x="4079204" y="131014"/>
                    <a:pt x="4040497" y="128035"/>
                    <a:pt x="3998811" y="125059"/>
                  </a:cubicBezTo>
                  <a:cubicBezTo>
                    <a:pt x="3983921" y="122080"/>
                    <a:pt x="3972011" y="119104"/>
                    <a:pt x="3957124" y="113149"/>
                  </a:cubicBezTo>
                  <a:cubicBezTo>
                    <a:pt x="3942235" y="110169"/>
                    <a:pt x="3930324" y="107194"/>
                    <a:pt x="3915438" y="104214"/>
                  </a:cubicBezTo>
                  <a:cubicBezTo>
                    <a:pt x="3888638" y="98259"/>
                    <a:pt x="3861841" y="92304"/>
                    <a:pt x="3835041" y="86349"/>
                  </a:cubicBezTo>
                  <a:cubicBezTo>
                    <a:pt x="3808245" y="80394"/>
                    <a:pt x="3781445" y="74438"/>
                    <a:pt x="3754648" y="68483"/>
                  </a:cubicBezTo>
                  <a:cubicBezTo>
                    <a:pt x="3727848" y="65507"/>
                    <a:pt x="3701051" y="59552"/>
                    <a:pt x="3671275" y="56573"/>
                  </a:cubicBezTo>
                  <a:lnTo>
                    <a:pt x="3578972" y="56573"/>
                  </a:lnTo>
                  <a:cubicBezTo>
                    <a:pt x="3552171" y="56573"/>
                    <a:pt x="3525375" y="56573"/>
                    <a:pt x="3504530" y="56573"/>
                  </a:cubicBezTo>
                  <a:cubicBezTo>
                    <a:pt x="3459867" y="56573"/>
                    <a:pt x="3424136" y="56573"/>
                    <a:pt x="3388405" y="56573"/>
                  </a:cubicBezTo>
                  <a:lnTo>
                    <a:pt x="3382950" y="54832"/>
                  </a:lnTo>
                  <a:lnTo>
                    <a:pt x="3331829" y="80394"/>
                  </a:lnTo>
                  <a:cubicBezTo>
                    <a:pt x="3305030" y="89325"/>
                    <a:pt x="3382447" y="95280"/>
                    <a:pt x="3349695" y="110170"/>
                  </a:cubicBezTo>
                  <a:cubicBezTo>
                    <a:pt x="3412223" y="122080"/>
                    <a:pt x="3474754" y="133990"/>
                    <a:pt x="3528350" y="145901"/>
                  </a:cubicBezTo>
                  <a:lnTo>
                    <a:pt x="3448848" y="147289"/>
                  </a:lnTo>
                  <a:lnTo>
                    <a:pt x="3450189" y="147392"/>
                  </a:lnTo>
                  <a:cubicBezTo>
                    <a:pt x="3482201" y="149624"/>
                    <a:pt x="3511976" y="150368"/>
                    <a:pt x="3534306" y="145901"/>
                  </a:cubicBezTo>
                  <a:cubicBezTo>
                    <a:pt x="3558127" y="148880"/>
                    <a:pt x="3581948" y="151856"/>
                    <a:pt x="3605768" y="154835"/>
                  </a:cubicBezTo>
                  <a:cubicBezTo>
                    <a:pt x="3671275" y="169721"/>
                    <a:pt x="3712962" y="175677"/>
                    <a:pt x="3742737" y="181632"/>
                  </a:cubicBezTo>
                  <a:cubicBezTo>
                    <a:pt x="3772514" y="187587"/>
                    <a:pt x="3790379" y="187587"/>
                    <a:pt x="3808245" y="190566"/>
                  </a:cubicBezTo>
                  <a:cubicBezTo>
                    <a:pt x="3843975" y="199497"/>
                    <a:pt x="3882686" y="208432"/>
                    <a:pt x="3918417" y="214387"/>
                  </a:cubicBezTo>
                  <a:cubicBezTo>
                    <a:pt x="3957124" y="220342"/>
                    <a:pt x="3992855" y="232252"/>
                    <a:pt x="4031566" y="238208"/>
                  </a:cubicBezTo>
                  <a:cubicBezTo>
                    <a:pt x="4067297" y="247139"/>
                    <a:pt x="4106004" y="256073"/>
                    <a:pt x="4141735" y="265004"/>
                  </a:cubicBezTo>
                  <a:lnTo>
                    <a:pt x="4251908" y="297759"/>
                  </a:lnTo>
                  <a:lnTo>
                    <a:pt x="4305504" y="312646"/>
                  </a:lnTo>
                  <a:lnTo>
                    <a:pt x="4359101" y="330511"/>
                  </a:lnTo>
                  <a:lnTo>
                    <a:pt x="4359792" y="331143"/>
                  </a:lnTo>
                  <a:lnTo>
                    <a:pt x="4398227" y="337770"/>
                  </a:lnTo>
                  <a:cubicBezTo>
                    <a:pt x="4431445" y="345585"/>
                    <a:pt x="4470805" y="358612"/>
                    <a:pt x="4491368" y="372382"/>
                  </a:cubicBezTo>
                  <a:lnTo>
                    <a:pt x="4504379" y="392095"/>
                  </a:lnTo>
                  <a:lnTo>
                    <a:pt x="4507980" y="393042"/>
                  </a:lnTo>
                  <a:cubicBezTo>
                    <a:pt x="4534777" y="404953"/>
                    <a:pt x="4564553" y="416863"/>
                    <a:pt x="4591353" y="425794"/>
                  </a:cubicBezTo>
                  <a:cubicBezTo>
                    <a:pt x="4615174" y="434729"/>
                    <a:pt x="4638995" y="443660"/>
                    <a:pt x="4662816" y="455570"/>
                  </a:cubicBezTo>
                  <a:cubicBezTo>
                    <a:pt x="4686636" y="467481"/>
                    <a:pt x="4710457" y="476415"/>
                    <a:pt x="4734278" y="488325"/>
                  </a:cubicBezTo>
                  <a:cubicBezTo>
                    <a:pt x="4746188" y="497257"/>
                    <a:pt x="4764054" y="506191"/>
                    <a:pt x="4787874" y="518101"/>
                  </a:cubicBezTo>
                  <a:cubicBezTo>
                    <a:pt x="4799785" y="524056"/>
                    <a:pt x="4811695" y="530012"/>
                    <a:pt x="4823606" y="535967"/>
                  </a:cubicBezTo>
                  <a:cubicBezTo>
                    <a:pt x="4835516" y="541922"/>
                    <a:pt x="4850402" y="547877"/>
                    <a:pt x="4862313" y="556808"/>
                  </a:cubicBezTo>
                  <a:cubicBezTo>
                    <a:pt x="4915909" y="583608"/>
                    <a:pt x="4969506" y="610405"/>
                    <a:pt x="4993327" y="631250"/>
                  </a:cubicBezTo>
                  <a:cubicBezTo>
                    <a:pt x="5046923" y="666981"/>
                    <a:pt x="5103499" y="699733"/>
                    <a:pt x="5160072" y="738443"/>
                  </a:cubicBezTo>
                  <a:cubicBezTo>
                    <a:pt x="5186872" y="756309"/>
                    <a:pt x="5216647" y="777150"/>
                    <a:pt x="5246424" y="797995"/>
                  </a:cubicBezTo>
                  <a:lnTo>
                    <a:pt x="5248924" y="799780"/>
                  </a:lnTo>
                  <a:lnTo>
                    <a:pt x="5293052" y="826589"/>
                  </a:lnTo>
                  <a:cubicBezTo>
                    <a:pt x="6306872" y="1511511"/>
                    <a:pt x="6973427" y="2671412"/>
                    <a:pt x="6973427" y="3986995"/>
                  </a:cubicBezTo>
                  <a:lnTo>
                    <a:pt x="6972171" y="4011914"/>
                  </a:lnTo>
                  <a:lnTo>
                    <a:pt x="7006179" y="4016772"/>
                  </a:lnTo>
                  <a:cubicBezTo>
                    <a:pt x="7018090" y="4025703"/>
                    <a:pt x="7027021" y="4031658"/>
                    <a:pt x="7038932" y="4040592"/>
                  </a:cubicBezTo>
                  <a:cubicBezTo>
                    <a:pt x="7041911" y="4073344"/>
                    <a:pt x="7047866" y="4082278"/>
                    <a:pt x="7053821" y="4120986"/>
                  </a:cubicBezTo>
                  <a:cubicBezTo>
                    <a:pt x="7071687" y="4156717"/>
                    <a:pt x="7092528" y="4186493"/>
                    <a:pt x="7110394" y="4216268"/>
                  </a:cubicBezTo>
                  <a:lnTo>
                    <a:pt x="7134218" y="4218435"/>
                  </a:lnTo>
                  <a:lnTo>
                    <a:pt x="7134218" y="4195427"/>
                  </a:lnTo>
                  <a:lnTo>
                    <a:pt x="7158423" y="4128188"/>
                  </a:lnTo>
                  <a:lnTo>
                    <a:pt x="7158035" y="4115034"/>
                  </a:lnTo>
                  <a:cubicBezTo>
                    <a:pt x="7166970" y="4025706"/>
                    <a:pt x="7172925" y="4028682"/>
                    <a:pt x="7181856" y="4034637"/>
                  </a:cubicBezTo>
                  <a:cubicBezTo>
                    <a:pt x="7193766" y="4031661"/>
                    <a:pt x="7205677" y="4031661"/>
                    <a:pt x="7214611" y="4034637"/>
                  </a:cubicBezTo>
                  <a:cubicBezTo>
                    <a:pt x="7232477" y="4022727"/>
                    <a:pt x="7247363" y="4007840"/>
                    <a:pt x="7265228" y="4001885"/>
                  </a:cubicBezTo>
                  <a:cubicBezTo>
                    <a:pt x="7268208" y="4046548"/>
                    <a:pt x="7268208" y="4085258"/>
                    <a:pt x="7271184" y="4132899"/>
                  </a:cubicBezTo>
                  <a:cubicBezTo>
                    <a:pt x="7265229" y="4153741"/>
                    <a:pt x="7262253" y="4174585"/>
                    <a:pt x="7256297" y="4195427"/>
                  </a:cubicBezTo>
                  <a:cubicBezTo>
                    <a:pt x="7250343" y="4216272"/>
                    <a:pt x="7244387" y="4237113"/>
                    <a:pt x="7238432" y="4254979"/>
                  </a:cubicBezTo>
                  <a:cubicBezTo>
                    <a:pt x="7235453" y="4287734"/>
                    <a:pt x="7232476" y="4320486"/>
                    <a:pt x="7229498" y="4353241"/>
                  </a:cubicBezTo>
                  <a:lnTo>
                    <a:pt x="7226521" y="4403859"/>
                  </a:lnTo>
                  <a:cubicBezTo>
                    <a:pt x="7223542" y="4421724"/>
                    <a:pt x="7223543" y="4436614"/>
                    <a:pt x="7220567" y="4454479"/>
                  </a:cubicBezTo>
                  <a:lnTo>
                    <a:pt x="7207871" y="4462944"/>
                  </a:lnTo>
                  <a:lnTo>
                    <a:pt x="7208656" y="4466386"/>
                  </a:lnTo>
                  <a:lnTo>
                    <a:pt x="7220819" y="4458278"/>
                  </a:lnTo>
                  <a:lnTo>
                    <a:pt x="7226521" y="4409814"/>
                  </a:lnTo>
                  <a:lnTo>
                    <a:pt x="7229497" y="4359196"/>
                  </a:lnTo>
                  <a:cubicBezTo>
                    <a:pt x="7232477" y="4326441"/>
                    <a:pt x="7235452" y="4293689"/>
                    <a:pt x="7238432" y="4260934"/>
                  </a:cubicBezTo>
                  <a:cubicBezTo>
                    <a:pt x="7244387" y="4243068"/>
                    <a:pt x="7250342" y="4222227"/>
                    <a:pt x="7256297" y="4201383"/>
                  </a:cubicBezTo>
                  <a:cubicBezTo>
                    <a:pt x="7262253" y="4180541"/>
                    <a:pt x="7268208" y="4159696"/>
                    <a:pt x="7271184" y="4138855"/>
                  </a:cubicBezTo>
                  <a:cubicBezTo>
                    <a:pt x="7280118" y="4144809"/>
                    <a:pt x="7286074" y="4150765"/>
                    <a:pt x="7295004" y="4156720"/>
                  </a:cubicBezTo>
                  <a:cubicBezTo>
                    <a:pt x="7295005" y="4171606"/>
                    <a:pt x="7295004" y="4186496"/>
                    <a:pt x="7292028" y="4201382"/>
                  </a:cubicBezTo>
                  <a:cubicBezTo>
                    <a:pt x="7289050" y="4216272"/>
                    <a:pt x="7289049" y="4231158"/>
                    <a:pt x="7286074" y="4246047"/>
                  </a:cubicBezTo>
                  <a:cubicBezTo>
                    <a:pt x="7283094" y="4275823"/>
                    <a:pt x="7280118" y="4302621"/>
                    <a:pt x="7283094" y="4329421"/>
                  </a:cubicBezTo>
                  <a:cubicBezTo>
                    <a:pt x="7280118" y="4359196"/>
                    <a:pt x="7280118" y="4391948"/>
                    <a:pt x="7277139" y="4427679"/>
                  </a:cubicBezTo>
                  <a:cubicBezTo>
                    <a:pt x="7271184" y="4460434"/>
                    <a:pt x="7268208" y="4496165"/>
                    <a:pt x="7262253" y="4531896"/>
                  </a:cubicBezTo>
                  <a:cubicBezTo>
                    <a:pt x="7256298" y="4567628"/>
                    <a:pt x="7253319" y="4603359"/>
                    <a:pt x="7244387" y="4642066"/>
                  </a:cubicBezTo>
                  <a:cubicBezTo>
                    <a:pt x="7238432" y="4677797"/>
                    <a:pt x="7229497" y="4713529"/>
                    <a:pt x="7223542" y="4749259"/>
                  </a:cubicBezTo>
                  <a:cubicBezTo>
                    <a:pt x="7202701" y="4829656"/>
                    <a:pt x="7208656" y="4856453"/>
                    <a:pt x="7184835" y="4975556"/>
                  </a:cubicBezTo>
                  <a:cubicBezTo>
                    <a:pt x="7172925" y="4981511"/>
                    <a:pt x="7161014" y="4987467"/>
                    <a:pt x="7149104" y="4996401"/>
                  </a:cubicBezTo>
                  <a:cubicBezTo>
                    <a:pt x="7137194" y="5038088"/>
                    <a:pt x="7119328" y="5085729"/>
                    <a:pt x="7104438" y="5127416"/>
                  </a:cubicBezTo>
                  <a:cubicBezTo>
                    <a:pt x="7083597" y="5195899"/>
                    <a:pt x="7098484" y="5204833"/>
                    <a:pt x="7092529" y="5252474"/>
                  </a:cubicBezTo>
                  <a:cubicBezTo>
                    <a:pt x="7089552" y="5258430"/>
                    <a:pt x="7086573" y="5267360"/>
                    <a:pt x="7086573" y="5270339"/>
                  </a:cubicBezTo>
                  <a:cubicBezTo>
                    <a:pt x="7068707" y="5317981"/>
                    <a:pt x="7050842" y="5365622"/>
                    <a:pt x="7035956" y="5407309"/>
                  </a:cubicBezTo>
                  <a:cubicBezTo>
                    <a:pt x="7030001" y="5413264"/>
                    <a:pt x="7027021" y="5416240"/>
                    <a:pt x="7021066" y="5419219"/>
                  </a:cubicBezTo>
                  <a:cubicBezTo>
                    <a:pt x="7000224" y="5466861"/>
                    <a:pt x="6979379" y="5517479"/>
                    <a:pt x="6958538" y="5565120"/>
                  </a:cubicBezTo>
                  <a:cubicBezTo>
                    <a:pt x="6982359" y="5517479"/>
                    <a:pt x="7003201" y="5466861"/>
                    <a:pt x="7024045" y="5419219"/>
                  </a:cubicBezTo>
                  <a:cubicBezTo>
                    <a:pt x="7030001" y="5413264"/>
                    <a:pt x="7032976" y="5413264"/>
                    <a:pt x="7038932" y="5407309"/>
                  </a:cubicBezTo>
                  <a:cubicBezTo>
                    <a:pt x="7015111" y="5535344"/>
                    <a:pt x="6976404" y="5615741"/>
                    <a:pt x="6943648" y="5678268"/>
                  </a:cubicBezTo>
                  <a:cubicBezTo>
                    <a:pt x="6925783" y="5690179"/>
                    <a:pt x="6907917" y="5699113"/>
                    <a:pt x="6893031" y="5705068"/>
                  </a:cubicBezTo>
                  <a:lnTo>
                    <a:pt x="6882533" y="5726066"/>
                  </a:lnTo>
                  <a:lnTo>
                    <a:pt x="6884100" y="5728886"/>
                  </a:lnTo>
                  <a:cubicBezTo>
                    <a:pt x="6887076" y="5722931"/>
                    <a:pt x="6890055" y="5713999"/>
                    <a:pt x="6896010" y="5705065"/>
                  </a:cubicBezTo>
                  <a:cubicBezTo>
                    <a:pt x="6910896" y="5699110"/>
                    <a:pt x="6928762" y="5690179"/>
                    <a:pt x="6946628" y="5678269"/>
                  </a:cubicBezTo>
                  <a:cubicBezTo>
                    <a:pt x="6949607" y="5711021"/>
                    <a:pt x="6925786" y="5752706"/>
                    <a:pt x="6910897" y="5779506"/>
                  </a:cubicBezTo>
                  <a:cubicBezTo>
                    <a:pt x="6890055" y="5821193"/>
                    <a:pt x="6866235" y="5859900"/>
                    <a:pt x="6845389" y="5898611"/>
                  </a:cubicBezTo>
                  <a:cubicBezTo>
                    <a:pt x="6833479" y="5919452"/>
                    <a:pt x="6824548" y="5937318"/>
                    <a:pt x="6812638" y="5958162"/>
                  </a:cubicBezTo>
                  <a:cubicBezTo>
                    <a:pt x="6800727" y="5979004"/>
                    <a:pt x="6788817" y="5996869"/>
                    <a:pt x="6776907" y="6017714"/>
                  </a:cubicBezTo>
                  <a:cubicBezTo>
                    <a:pt x="6767972" y="6029624"/>
                    <a:pt x="6762017" y="6044511"/>
                    <a:pt x="6750106" y="6062376"/>
                  </a:cubicBezTo>
                  <a:lnTo>
                    <a:pt x="6724490" y="6119524"/>
                  </a:lnTo>
                  <a:lnTo>
                    <a:pt x="6444201" y="6194627"/>
                  </a:lnTo>
                  <a:lnTo>
                    <a:pt x="6494406" y="6117091"/>
                  </a:lnTo>
                  <a:cubicBezTo>
                    <a:pt x="6513388" y="6085454"/>
                    <a:pt x="6529765" y="6054935"/>
                    <a:pt x="6541675" y="6026649"/>
                  </a:cubicBezTo>
                  <a:cubicBezTo>
                    <a:pt x="6571451" y="5976028"/>
                    <a:pt x="6607182" y="5940297"/>
                    <a:pt x="6628027" y="5886700"/>
                  </a:cubicBezTo>
                  <a:cubicBezTo>
                    <a:pt x="6654823" y="5842038"/>
                    <a:pt x="6681623" y="5788441"/>
                    <a:pt x="6708421" y="5743775"/>
                  </a:cubicBezTo>
                  <a:cubicBezTo>
                    <a:pt x="6720331" y="5725910"/>
                    <a:pt x="6729265" y="5708045"/>
                    <a:pt x="6738196" y="5690179"/>
                  </a:cubicBezTo>
                  <a:cubicBezTo>
                    <a:pt x="6747130" y="5672313"/>
                    <a:pt x="6753086" y="5654447"/>
                    <a:pt x="6762017" y="5639562"/>
                  </a:cubicBezTo>
                  <a:cubicBezTo>
                    <a:pt x="6776906" y="5606806"/>
                    <a:pt x="6788817" y="5574054"/>
                    <a:pt x="6800727" y="5544279"/>
                  </a:cubicBezTo>
                  <a:cubicBezTo>
                    <a:pt x="6824548" y="5481748"/>
                    <a:pt x="6845390" y="5422196"/>
                    <a:pt x="6884100" y="5362643"/>
                  </a:cubicBezTo>
                  <a:cubicBezTo>
                    <a:pt x="6910897" y="5315002"/>
                    <a:pt x="6904941" y="5279271"/>
                    <a:pt x="6916852" y="5240564"/>
                  </a:cubicBezTo>
                  <a:cubicBezTo>
                    <a:pt x="6949607" y="5160167"/>
                    <a:pt x="6970448" y="5079774"/>
                    <a:pt x="6997248" y="4996401"/>
                  </a:cubicBezTo>
                  <a:cubicBezTo>
                    <a:pt x="6985338" y="4972581"/>
                    <a:pt x="7027024" y="4877298"/>
                    <a:pt x="7032979" y="4805835"/>
                  </a:cubicBezTo>
                  <a:cubicBezTo>
                    <a:pt x="7050845" y="4731394"/>
                    <a:pt x="7065731" y="4653977"/>
                    <a:pt x="7080621" y="4576559"/>
                  </a:cubicBezTo>
                  <a:lnTo>
                    <a:pt x="7091362" y="4536286"/>
                  </a:lnTo>
                  <a:lnTo>
                    <a:pt x="7083597" y="4534872"/>
                  </a:lnTo>
                  <a:cubicBezTo>
                    <a:pt x="7086573" y="4511052"/>
                    <a:pt x="7086573" y="4490211"/>
                    <a:pt x="7086573" y="4460435"/>
                  </a:cubicBezTo>
                  <a:lnTo>
                    <a:pt x="7088158" y="4454885"/>
                  </a:lnTo>
                  <a:lnTo>
                    <a:pt x="7086079" y="4455001"/>
                  </a:lnTo>
                  <a:lnTo>
                    <a:pt x="7082312" y="4455210"/>
                  </a:lnTo>
                  <a:lnTo>
                    <a:pt x="7083597" y="4469366"/>
                  </a:lnTo>
                  <a:cubicBezTo>
                    <a:pt x="7083597" y="4496165"/>
                    <a:pt x="7083597" y="4517007"/>
                    <a:pt x="7080621" y="4543807"/>
                  </a:cubicBezTo>
                  <a:cubicBezTo>
                    <a:pt x="7077642" y="4558694"/>
                    <a:pt x="7074666" y="4570604"/>
                    <a:pt x="7068710" y="4588469"/>
                  </a:cubicBezTo>
                  <a:cubicBezTo>
                    <a:pt x="7044890" y="4627180"/>
                    <a:pt x="7021069" y="4665887"/>
                    <a:pt x="6997249" y="4701618"/>
                  </a:cubicBezTo>
                  <a:cubicBezTo>
                    <a:pt x="6991293" y="4737349"/>
                    <a:pt x="6988314" y="4767125"/>
                    <a:pt x="6979383" y="4799880"/>
                  </a:cubicBezTo>
                  <a:lnTo>
                    <a:pt x="6961517" y="4832632"/>
                  </a:lnTo>
                  <a:cubicBezTo>
                    <a:pt x="6952583" y="4880273"/>
                    <a:pt x="6943651" y="4924939"/>
                    <a:pt x="6931741" y="4975556"/>
                  </a:cubicBezTo>
                  <a:cubicBezTo>
                    <a:pt x="6919831" y="5014267"/>
                    <a:pt x="6910896" y="5049998"/>
                    <a:pt x="6898986" y="5088705"/>
                  </a:cubicBezTo>
                  <a:cubicBezTo>
                    <a:pt x="6887076" y="5127416"/>
                    <a:pt x="6878145" y="5163147"/>
                    <a:pt x="6863255" y="5198877"/>
                  </a:cubicBezTo>
                  <a:cubicBezTo>
                    <a:pt x="6857300" y="5228653"/>
                    <a:pt x="6851345" y="5255450"/>
                    <a:pt x="6842413" y="5285226"/>
                  </a:cubicBezTo>
                  <a:cubicBezTo>
                    <a:pt x="6836459" y="5315002"/>
                    <a:pt x="6830503" y="5344778"/>
                    <a:pt x="6818593" y="5374554"/>
                  </a:cubicBezTo>
                  <a:lnTo>
                    <a:pt x="6837590" y="5345006"/>
                  </a:lnTo>
                  <a:lnTo>
                    <a:pt x="6854324" y="5282247"/>
                  </a:lnTo>
                  <a:cubicBezTo>
                    <a:pt x="6857300" y="5249495"/>
                    <a:pt x="6863255" y="5222695"/>
                    <a:pt x="6869211" y="5192919"/>
                  </a:cubicBezTo>
                  <a:cubicBezTo>
                    <a:pt x="6881121" y="5157188"/>
                    <a:pt x="6893031" y="5118481"/>
                    <a:pt x="6904941" y="5082750"/>
                  </a:cubicBezTo>
                  <a:cubicBezTo>
                    <a:pt x="6916852" y="5044039"/>
                    <a:pt x="6925786" y="5008309"/>
                    <a:pt x="6937697" y="4969602"/>
                  </a:cubicBezTo>
                  <a:cubicBezTo>
                    <a:pt x="6949607" y="4921960"/>
                    <a:pt x="6955562" y="4877294"/>
                    <a:pt x="6967473" y="4826677"/>
                  </a:cubicBezTo>
                  <a:lnTo>
                    <a:pt x="6985338" y="4793921"/>
                  </a:lnTo>
                  <a:cubicBezTo>
                    <a:pt x="6994270" y="4761170"/>
                    <a:pt x="6997249" y="4731394"/>
                    <a:pt x="7003203" y="4695662"/>
                  </a:cubicBezTo>
                  <a:cubicBezTo>
                    <a:pt x="7027024" y="4656953"/>
                    <a:pt x="7050845" y="4621221"/>
                    <a:pt x="7074666" y="4582514"/>
                  </a:cubicBezTo>
                  <a:cubicBezTo>
                    <a:pt x="7059776" y="4659932"/>
                    <a:pt x="7044890" y="4734370"/>
                    <a:pt x="7027025" y="4811787"/>
                  </a:cubicBezTo>
                  <a:cubicBezTo>
                    <a:pt x="7021069" y="4883249"/>
                    <a:pt x="6979383" y="4981512"/>
                    <a:pt x="6991293" y="5002353"/>
                  </a:cubicBezTo>
                  <a:cubicBezTo>
                    <a:pt x="6964493" y="5085726"/>
                    <a:pt x="6940672" y="5166123"/>
                    <a:pt x="6910897" y="5246516"/>
                  </a:cubicBezTo>
                  <a:lnTo>
                    <a:pt x="6894994" y="5271255"/>
                  </a:lnTo>
                  <a:lnTo>
                    <a:pt x="6888195" y="5308303"/>
                  </a:lnTo>
                  <a:cubicBezTo>
                    <a:pt x="6884844" y="5327659"/>
                    <a:pt x="6879632" y="5347757"/>
                    <a:pt x="6866235" y="5371578"/>
                  </a:cubicBezTo>
                  <a:cubicBezTo>
                    <a:pt x="6824548" y="5431130"/>
                    <a:pt x="6803704" y="5490681"/>
                    <a:pt x="6782861" y="5553209"/>
                  </a:cubicBezTo>
                  <a:cubicBezTo>
                    <a:pt x="6770951" y="5582986"/>
                    <a:pt x="6759041" y="5615741"/>
                    <a:pt x="6744152" y="5648492"/>
                  </a:cubicBezTo>
                  <a:cubicBezTo>
                    <a:pt x="6738196" y="5666358"/>
                    <a:pt x="6729265" y="5681247"/>
                    <a:pt x="6720330" y="5699113"/>
                  </a:cubicBezTo>
                  <a:cubicBezTo>
                    <a:pt x="6711399" y="5716978"/>
                    <a:pt x="6702465" y="5734844"/>
                    <a:pt x="6690554" y="5752710"/>
                  </a:cubicBezTo>
                  <a:cubicBezTo>
                    <a:pt x="6663758" y="5800352"/>
                    <a:pt x="6636958" y="5850969"/>
                    <a:pt x="6610162" y="5895635"/>
                  </a:cubicBezTo>
                  <a:cubicBezTo>
                    <a:pt x="6589317" y="5949231"/>
                    <a:pt x="6553585" y="5984962"/>
                    <a:pt x="6523810" y="6035579"/>
                  </a:cubicBezTo>
                  <a:cubicBezTo>
                    <a:pt x="6511899" y="6063867"/>
                    <a:pt x="6495523" y="6095132"/>
                    <a:pt x="6476540" y="6127141"/>
                  </a:cubicBezTo>
                  <a:lnTo>
                    <a:pt x="6429810" y="6198484"/>
                  </a:lnTo>
                  <a:lnTo>
                    <a:pt x="6336174" y="6223573"/>
                  </a:lnTo>
                  <a:lnTo>
                    <a:pt x="6354089" y="6196370"/>
                  </a:lnTo>
                  <a:cubicBezTo>
                    <a:pt x="6386840" y="6157663"/>
                    <a:pt x="6416616" y="6115976"/>
                    <a:pt x="6446392" y="6074290"/>
                  </a:cubicBezTo>
                  <a:cubicBezTo>
                    <a:pt x="6458302" y="6053445"/>
                    <a:pt x="6473192" y="6032604"/>
                    <a:pt x="6485103" y="6008783"/>
                  </a:cubicBezTo>
                  <a:cubicBezTo>
                    <a:pt x="6497013" y="5984962"/>
                    <a:pt x="6511899" y="5961142"/>
                    <a:pt x="6523809" y="5937321"/>
                  </a:cubicBezTo>
                  <a:lnTo>
                    <a:pt x="6534834" y="5919741"/>
                  </a:lnTo>
                  <a:lnTo>
                    <a:pt x="6593762" y="5834622"/>
                  </a:lnTo>
                  <a:lnTo>
                    <a:pt x="6604206" y="5821193"/>
                  </a:lnTo>
                  <a:lnTo>
                    <a:pt x="6605697" y="5817382"/>
                  </a:lnTo>
                  <a:lnTo>
                    <a:pt x="6593762" y="5834622"/>
                  </a:lnTo>
                  <a:lnTo>
                    <a:pt x="6565125" y="5871441"/>
                  </a:lnTo>
                  <a:lnTo>
                    <a:pt x="6534834" y="5919741"/>
                  </a:lnTo>
                  <a:lnTo>
                    <a:pt x="6526789" y="5931363"/>
                  </a:lnTo>
                  <a:cubicBezTo>
                    <a:pt x="6511899" y="5955183"/>
                    <a:pt x="6499989" y="5979004"/>
                    <a:pt x="6488078" y="6002825"/>
                  </a:cubicBezTo>
                  <a:cubicBezTo>
                    <a:pt x="6473192" y="6026646"/>
                    <a:pt x="6461282" y="6047490"/>
                    <a:pt x="6449371" y="6068331"/>
                  </a:cubicBezTo>
                  <a:cubicBezTo>
                    <a:pt x="6419596" y="6110018"/>
                    <a:pt x="6389820" y="6151704"/>
                    <a:pt x="6357065" y="6190414"/>
                  </a:cubicBezTo>
                  <a:lnTo>
                    <a:pt x="6335765" y="6223683"/>
                  </a:lnTo>
                  <a:lnTo>
                    <a:pt x="6265251" y="6242577"/>
                  </a:lnTo>
                  <a:lnTo>
                    <a:pt x="6265470" y="6242204"/>
                  </a:lnTo>
                  <a:lnTo>
                    <a:pt x="6267736" y="6235077"/>
                  </a:lnTo>
                  <a:cubicBezTo>
                    <a:pt x="6291557" y="6199345"/>
                    <a:pt x="6321333" y="6157659"/>
                    <a:pt x="6345154" y="6115973"/>
                  </a:cubicBezTo>
                  <a:cubicBezTo>
                    <a:pt x="6354089" y="6104062"/>
                    <a:pt x="6360044" y="6092153"/>
                    <a:pt x="6368975" y="6080242"/>
                  </a:cubicBezTo>
                  <a:lnTo>
                    <a:pt x="6400648" y="6036311"/>
                  </a:lnTo>
                  <a:lnTo>
                    <a:pt x="6410661" y="6017714"/>
                  </a:lnTo>
                  <a:cubicBezTo>
                    <a:pt x="6437457" y="5979004"/>
                    <a:pt x="6458302" y="5940297"/>
                    <a:pt x="6473189" y="5910521"/>
                  </a:cubicBezTo>
                  <a:cubicBezTo>
                    <a:pt x="6520831" y="5827148"/>
                    <a:pt x="6556562" y="5743775"/>
                    <a:pt x="6595272" y="5657424"/>
                  </a:cubicBezTo>
                  <a:cubicBezTo>
                    <a:pt x="6631003" y="5571075"/>
                    <a:pt x="6669710" y="5484723"/>
                    <a:pt x="6714376" y="5386465"/>
                  </a:cubicBezTo>
                  <a:cubicBezTo>
                    <a:pt x="6718842" y="5359667"/>
                    <a:pt x="6736708" y="5314258"/>
                    <a:pt x="6749362" y="5276292"/>
                  </a:cubicBezTo>
                  <a:lnTo>
                    <a:pt x="6760782" y="5233196"/>
                  </a:lnTo>
                  <a:lnTo>
                    <a:pt x="6673915" y="5470534"/>
                  </a:lnTo>
                  <a:cubicBezTo>
                    <a:pt x="6619674" y="5598779"/>
                    <a:pt x="6558609" y="5723434"/>
                    <a:pt x="6491183" y="5844051"/>
                  </a:cubicBezTo>
                  <a:lnTo>
                    <a:pt x="6464429" y="5886350"/>
                  </a:lnTo>
                  <a:lnTo>
                    <a:pt x="6464258" y="5886700"/>
                  </a:lnTo>
                  <a:cubicBezTo>
                    <a:pt x="6452347" y="5916476"/>
                    <a:pt x="6428527" y="5955186"/>
                    <a:pt x="6401726" y="5993893"/>
                  </a:cubicBezTo>
                  <a:cubicBezTo>
                    <a:pt x="6374930" y="6032604"/>
                    <a:pt x="6351109" y="6074290"/>
                    <a:pt x="6339199" y="6110021"/>
                  </a:cubicBezTo>
                  <a:cubicBezTo>
                    <a:pt x="6318354" y="6136818"/>
                    <a:pt x="6291557" y="6166593"/>
                    <a:pt x="6267736" y="6199349"/>
                  </a:cubicBezTo>
                  <a:cubicBezTo>
                    <a:pt x="6255826" y="6215725"/>
                    <a:pt x="6244660" y="6232846"/>
                    <a:pt x="6234610" y="6249967"/>
                  </a:cubicBezTo>
                  <a:lnTo>
                    <a:pt x="6234112" y="6250921"/>
                  </a:lnTo>
                  <a:lnTo>
                    <a:pt x="1630942" y="7484336"/>
                  </a:lnTo>
                  <a:lnTo>
                    <a:pt x="75670" y="1679985"/>
                  </a:lnTo>
                  <a:lnTo>
                    <a:pt x="151760" y="1595990"/>
                  </a:lnTo>
                  <a:cubicBezTo>
                    <a:pt x="169626" y="1575145"/>
                    <a:pt x="184512" y="1554304"/>
                    <a:pt x="202378" y="1533459"/>
                  </a:cubicBezTo>
                  <a:cubicBezTo>
                    <a:pt x="220243" y="1512617"/>
                    <a:pt x="238109" y="1494752"/>
                    <a:pt x="252998" y="1473907"/>
                  </a:cubicBezTo>
                  <a:cubicBezTo>
                    <a:pt x="312550" y="1396490"/>
                    <a:pt x="375078" y="1330983"/>
                    <a:pt x="434630" y="1259520"/>
                  </a:cubicBezTo>
                  <a:lnTo>
                    <a:pt x="438539" y="1253836"/>
                  </a:lnTo>
                  <a:lnTo>
                    <a:pt x="441521" y="1250083"/>
                  </a:lnTo>
                  <a:lnTo>
                    <a:pt x="443846" y="1246116"/>
                  </a:lnTo>
                  <a:lnTo>
                    <a:pt x="453049" y="1232733"/>
                  </a:lnTo>
                  <a:lnTo>
                    <a:pt x="483515" y="1198305"/>
                  </a:lnTo>
                  <a:lnTo>
                    <a:pt x="485826" y="1195883"/>
                  </a:lnTo>
                  <a:lnTo>
                    <a:pt x="485254" y="1196339"/>
                  </a:lnTo>
                  <a:lnTo>
                    <a:pt x="483515" y="1198305"/>
                  </a:lnTo>
                  <a:lnTo>
                    <a:pt x="459198" y="1223789"/>
                  </a:lnTo>
                  <a:lnTo>
                    <a:pt x="453049" y="1232733"/>
                  </a:lnTo>
                  <a:lnTo>
                    <a:pt x="449032" y="1237272"/>
                  </a:lnTo>
                  <a:lnTo>
                    <a:pt x="443846" y="1246116"/>
                  </a:lnTo>
                  <a:lnTo>
                    <a:pt x="438539" y="1253836"/>
                  </a:lnTo>
                  <a:lnTo>
                    <a:pt x="431654" y="1262500"/>
                  </a:lnTo>
                  <a:cubicBezTo>
                    <a:pt x="372102" y="1330983"/>
                    <a:pt x="309574" y="1399469"/>
                    <a:pt x="250022" y="1476886"/>
                  </a:cubicBezTo>
                  <a:cubicBezTo>
                    <a:pt x="232157" y="1497728"/>
                    <a:pt x="214291" y="1515593"/>
                    <a:pt x="199402" y="1536438"/>
                  </a:cubicBezTo>
                  <a:cubicBezTo>
                    <a:pt x="181536" y="1557280"/>
                    <a:pt x="166650" y="1578124"/>
                    <a:pt x="148784" y="1598966"/>
                  </a:cubicBezTo>
                  <a:lnTo>
                    <a:pt x="75627" y="1679824"/>
                  </a:lnTo>
                  <a:lnTo>
                    <a:pt x="58982" y="1617705"/>
                  </a:lnTo>
                  <a:lnTo>
                    <a:pt x="170371" y="1479863"/>
                  </a:lnTo>
                  <a:cubicBezTo>
                    <a:pt x="255977" y="1379370"/>
                    <a:pt x="346793" y="1283343"/>
                    <a:pt x="443564" y="1191037"/>
                  </a:cubicBezTo>
                  <a:cubicBezTo>
                    <a:pt x="491206" y="1149351"/>
                    <a:pt x="529916" y="1107665"/>
                    <a:pt x="580533" y="1065979"/>
                  </a:cubicBezTo>
                  <a:cubicBezTo>
                    <a:pt x="654975" y="994516"/>
                    <a:pt x="774079" y="887323"/>
                    <a:pt x="908069" y="809905"/>
                  </a:cubicBezTo>
                  <a:cubicBezTo>
                    <a:pt x="946779" y="780130"/>
                    <a:pt x="973576" y="747374"/>
                    <a:pt x="1021217" y="720578"/>
                  </a:cubicBezTo>
                  <a:cubicBezTo>
                    <a:pt x="1062904" y="705688"/>
                    <a:pt x="1110545" y="675912"/>
                    <a:pt x="1170097" y="643160"/>
                  </a:cubicBezTo>
                  <a:cubicBezTo>
                    <a:pt x="1199873" y="628271"/>
                    <a:pt x="1232628" y="610405"/>
                    <a:pt x="1265380" y="592540"/>
                  </a:cubicBezTo>
                  <a:cubicBezTo>
                    <a:pt x="1283245" y="583608"/>
                    <a:pt x="1298135" y="574674"/>
                    <a:pt x="1316001" y="565743"/>
                  </a:cubicBezTo>
                  <a:cubicBezTo>
                    <a:pt x="1333866" y="556808"/>
                    <a:pt x="1351732" y="550853"/>
                    <a:pt x="1372573" y="544898"/>
                  </a:cubicBezTo>
                  <a:cubicBezTo>
                    <a:pt x="1432125" y="515122"/>
                    <a:pt x="1497632" y="485346"/>
                    <a:pt x="1560163" y="461525"/>
                  </a:cubicBezTo>
                  <a:cubicBezTo>
                    <a:pt x="1640558" y="424306"/>
                    <a:pt x="1724675" y="388575"/>
                    <a:pt x="1811397" y="355077"/>
                  </a:cubicBezTo>
                  <a:close/>
                  <a:moveTo>
                    <a:pt x="1124673" y="520067"/>
                  </a:moveTo>
                  <a:lnTo>
                    <a:pt x="2022132" y="279593"/>
                  </a:lnTo>
                  <a:lnTo>
                    <a:pt x="1806557" y="355076"/>
                  </a:lnTo>
                  <a:cubicBezTo>
                    <a:pt x="1720207" y="388574"/>
                    <a:pt x="1636090" y="424305"/>
                    <a:pt x="1554205" y="461525"/>
                  </a:cubicBezTo>
                  <a:cubicBezTo>
                    <a:pt x="1491677" y="485346"/>
                    <a:pt x="1426170" y="518098"/>
                    <a:pt x="1366618" y="544898"/>
                  </a:cubicBezTo>
                  <a:cubicBezTo>
                    <a:pt x="1348753" y="550853"/>
                    <a:pt x="1327908" y="559785"/>
                    <a:pt x="1310042" y="565740"/>
                  </a:cubicBezTo>
                  <a:cubicBezTo>
                    <a:pt x="1292177" y="574674"/>
                    <a:pt x="1274311" y="583605"/>
                    <a:pt x="1259425" y="592540"/>
                  </a:cubicBezTo>
                  <a:cubicBezTo>
                    <a:pt x="1226670" y="610405"/>
                    <a:pt x="1193918" y="628271"/>
                    <a:pt x="1164142" y="643157"/>
                  </a:cubicBezTo>
                  <a:cubicBezTo>
                    <a:pt x="1104590" y="675912"/>
                    <a:pt x="1056949" y="705688"/>
                    <a:pt x="1015262" y="720574"/>
                  </a:cubicBezTo>
                  <a:cubicBezTo>
                    <a:pt x="967621" y="747374"/>
                    <a:pt x="940821" y="777150"/>
                    <a:pt x="902114" y="809902"/>
                  </a:cubicBezTo>
                  <a:cubicBezTo>
                    <a:pt x="768120" y="887320"/>
                    <a:pt x="649016" y="994513"/>
                    <a:pt x="574578" y="1065975"/>
                  </a:cubicBezTo>
                  <a:lnTo>
                    <a:pt x="506130" y="1125496"/>
                  </a:lnTo>
                  <a:lnTo>
                    <a:pt x="439166" y="1186639"/>
                  </a:lnTo>
                  <a:lnTo>
                    <a:pt x="440585" y="1188058"/>
                  </a:lnTo>
                  <a:cubicBezTo>
                    <a:pt x="343814" y="1280364"/>
                    <a:pt x="252997" y="1377135"/>
                    <a:pt x="167392" y="1478001"/>
                  </a:cubicBezTo>
                  <a:lnTo>
                    <a:pt x="57891" y="1613630"/>
                  </a:lnTo>
                  <a:lnTo>
                    <a:pt x="0" y="1397579"/>
                  </a:lnTo>
                  <a:lnTo>
                    <a:pt x="20746" y="1378624"/>
                  </a:lnTo>
                  <a:cubicBezTo>
                    <a:pt x="648" y="1416587"/>
                    <a:pt x="22425" y="1409329"/>
                    <a:pt x="23259" y="1423427"/>
                  </a:cubicBezTo>
                  <a:lnTo>
                    <a:pt x="16526" y="1442259"/>
                  </a:lnTo>
                  <a:lnTo>
                    <a:pt x="113050" y="1342893"/>
                  </a:lnTo>
                  <a:cubicBezTo>
                    <a:pt x="121984" y="1325027"/>
                    <a:pt x="139850" y="1304186"/>
                    <a:pt x="160691" y="1280365"/>
                  </a:cubicBezTo>
                  <a:cubicBezTo>
                    <a:pt x="181536" y="1259520"/>
                    <a:pt x="205357" y="1238679"/>
                    <a:pt x="223222" y="1220813"/>
                  </a:cubicBezTo>
                  <a:lnTo>
                    <a:pt x="228612" y="1226800"/>
                  </a:lnTo>
                  <a:lnTo>
                    <a:pt x="226201" y="1223789"/>
                  </a:lnTo>
                  <a:cubicBezTo>
                    <a:pt x="252998" y="1196989"/>
                    <a:pt x="276819" y="1170193"/>
                    <a:pt x="303619" y="1146372"/>
                  </a:cubicBezTo>
                  <a:cubicBezTo>
                    <a:pt x="327440" y="1122551"/>
                    <a:pt x="354236" y="1098730"/>
                    <a:pt x="381036" y="1074910"/>
                  </a:cubicBezTo>
                  <a:cubicBezTo>
                    <a:pt x="413788" y="1042155"/>
                    <a:pt x="434633" y="1015358"/>
                    <a:pt x="464409" y="985582"/>
                  </a:cubicBezTo>
                  <a:cubicBezTo>
                    <a:pt x="503116" y="955806"/>
                    <a:pt x="544802" y="926030"/>
                    <a:pt x="580534" y="899230"/>
                  </a:cubicBezTo>
                  <a:cubicBezTo>
                    <a:pt x="622220" y="866478"/>
                    <a:pt x="663906" y="836702"/>
                    <a:pt x="705592" y="806926"/>
                  </a:cubicBezTo>
                  <a:lnTo>
                    <a:pt x="780365" y="754761"/>
                  </a:lnTo>
                  <a:lnTo>
                    <a:pt x="830651" y="708664"/>
                  </a:lnTo>
                  <a:cubicBezTo>
                    <a:pt x="860427" y="690799"/>
                    <a:pt x="890203" y="672933"/>
                    <a:pt x="919979" y="655067"/>
                  </a:cubicBezTo>
                  <a:cubicBezTo>
                    <a:pt x="949755" y="637202"/>
                    <a:pt x="982507" y="622315"/>
                    <a:pt x="1015262" y="604450"/>
                  </a:cubicBezTo>
                  <a:lnTo>
                    <a:pt x="1027876" y="597963"/>
                  </a:lnTo>
                  <a:lnTo>
                    <a:pt x="1060299" y="566115"/>
                  </a:lnTo>
                  <a:cubicBezTo>
                    <a:pt x="1078537" y="552341"/>
                    <a:pt x="1098638" y="538943"/>
                    <a:pt x="1113524" y="527032"/>
                  </a:cubicBez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2253772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334B4EE-E76D-A05A-4FA9-89FB668E6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938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34B4EE-E76D-A05A-4FA9-89FB668E6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D5B4147-0243-4900-BBE6-9D1AA3C91DE8}"/>
              </a:ext>
            </a:extLst>
          </p:cNvPr>
          <p:cNvSpPr/>
          <p:nvPr userDrawn="1"/>
        </p:nvSpPr>
        <p:spPr>
          <a:xfrm>
            <a:off x="14288" y="0"/>
            <a:ext cx="12172950" cy="6492875"/>
          </a:xfrm>
          <a:custGeom>
            <a:avLst/>
            <a:gdLst>
              <a:gd name="connsiteX0" fmla="*/ 10422591 w 12172950"/>
              <a:gd name="connsiteY0" fmla="*/ 0 h 6492875"/>
              <a:gd name="connsiteX1" fmla="*/ 12172950 w 12172950"/>
              <a:gd name="connsiteY1" fmla="*/ 0 h 6492875"/>
              <a:gd name="connsiteX2" fmla="*/ 12172950 w 12172950"/>
              <a:gd name="connsiteY2" fmla="*/ 6492875 h 6492875"/>
              <a:gd name="connsiteX3" fmla="*/ 0 w 12172950"/>
              <a:gd name="connsiteY3" fmla="*/ 6492875 h 6492875"/>
              <a:gd name="connsiteX4" fmla="*/ 0 w 12172950"/>
              <a:gd name="connsiteY4" fmla="*/ 1663700 h 649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72950" h="6492875">
                <a:moveTo>
                  <a:pt x="10422591" y="0"/>
                </a:moveTo>
                <a:lnTo>
                  <a:pt x="12172950" y="0"/>
                </a:lnTo>
                <a:lnTo>
                  <a:pt x="12172950" y="6492875"/>
                </a:lnTo>
                <a:lnTo>
                  <a:pt x="0" y="6492875"/>
                </a:lnTo>
                <a:lnTo>
                  <a:pt x="0" y="16637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3896A4A-ABC6-4A11-8705-824F8FA25662}"/>
              </a:ext>
            </a:extLst>
          </p:cNvPr>
          <p:cNvSpPr/>
          <p:nvPr userDrawn="1"/>
        </p:nvSpPr>
        <p:spPr>
          <a:xfrm>
            <a:off x="14288" y="85725"/>
            <a:ext cx="12172950" cy="6772275"/>
          </a:xfrm>
          <a:custGeom>
            <a:avLst/>
            <a:gdLst>
              <a:gd name="connsiteX0" fmla="*/ 12172950 w 12172950"/>
              <a:gd name="connsiteY0" fmla="*/ 0 h 6772275"/>
              <a:gd name="connsiteX1" fmla="*/ 0 w 12172950"/>
              <a:gd name="connsiteY1" fmla="*/ 1943100 h 6772275"/>
              <a:gd name="connsiteX2" fmla="*/ 0 w 12172950"/>
              <a:gd name="connsiteY2" fmla="*/ 6772275 h 6772275"/>
              <a:gd name="connsiteX3" fmla="*/ 12172950 w 12172950"/>
              <a:gd name="connsiteY3" fmla="*/ 6772275 h 6772275"/>
              <a:gd name="connsiteX4" fmla="*/ 12172950 w 12172950"/>
              <a:gd name="connsiteY4" fmla="*/ 57150 h 6772275"/>
              <a:gd name="connsiteX5" fmla="*/ 12172950 w 12172950"/>
              <a:gd name="connsiteY5" fmla="*/ 0 h 677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72950" h="6772275">
                <a:moveTo>
                  <a:pt x="12172950" y="0"/>
                </a:moveTo>
                <a:lnTo>
                  <a:pt x="0" y="1943100"/>
                </a:lnTo>
                <a:lnTo>
                  <a:pt x="0" y="6772275"/>
                </a:lnTo>
                <a:lnTo>
                  <a:pt x="12172950" y="6772275"/>
                </a:lnTo>
                <a:lnTo>
                  <a:pt x="12172950" y="57150"/>
                </a:lnTo>
                <a:lnTo>
                  <a:pt x="1217295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5EA298-1A4C-403F-A3DC-53FA50826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50DF58-5372-4FF2-8AC7-0223A5AB6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609202-A5A2-48D6-84A6-A560390EA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0470ED-E8DF-47FE-864B-DAEDFD3E5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B645E-C5E5-4727-B977-D372A0AA71D9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82CFFF6-785C-4F10-8033-E62456DB74F5}"/>
              </a:ext>
            </a:extLst>
          </p:cNvPr>
          <p:cNvGrpSpPr/>
          <p:nvPr userDrawn="1"/>
        </p:nvGrpSpPr>
        <p:grpSpPr>
          <a:xfrm>
            <a:off x="6445368" y="136525"/>
            <a:ext cx="5537365" cy="5398356"/>
            <a:chOff x="2214563" y="585788"/>
            <a:chExt cx="569118" cy="554831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CA1EF99-8F84-4524-A2D4-62D1847EE8BB}"/>
                </a:ext>
              </a:extLst>
            </p:cNvPr>
            <p:cNvSpPr/>
            <p:nvPr/>
          </p:nvSpPr>
          <p:spPr>
            <a:xfrm>
              <a:off x="2214563" y="585788"/>
              <a:ext cx="566737" cy="202406"/>
            </a:xfrm>
            <a:custGeom>
              <a:avLst/>
              <a:gdLst>
                <a:gd name="connsiteX0" fmla="*/ 247650 w 566737"/>
                <a:gd name="connsiteY0" fmla="*/ 202406 h 202406"/>
                <a:gd name="connsiteX1" fmla="*/ 0 w 566737"/>
                <a:gd name="connsiteY1" fmla="*/ 90487 h 202406"/>
                <a:gd name="connsiteX2" fmla="*/ 566737 w 566737"/>
                <a:gd name="connsiteY2" fmla="*/ 0 h 202406"/>
                <a:gd name="connsiteX3" fmla="*/ 247650 w 566737"/>
                <a:gd name="connsiteY3" fmla="*/ 202406 h 202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6737" h="202406">
                  <a:moveTo>
                    <a:pt x="247650" y="202406"/>
                  </a:moveTo>
                  <a:lnTo>
                    <a:pt x="0" y="90487"/>
                  </a:lnTo>
                  <a:lnTo>
                    <a:pt x="566737" y="0"/>
                  </a:lnTo>
                  <a:lnTo>
                    <a:pt x="247650" y="202406"/>
                  </a:lnTo>
                  <a:close/>
                </a:path>
              </a:pathLst>
            </a:custGeom>
            <a:solidFill>
              <a:srgbClr val="003F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02DA377-F151-469F-A292-C3E403E0934D}"/>
                </a:ext>
              </a:extLst>
            </p:cNvPr>
            <p:cNvSpPr/>
            <p:nvPr/>
          </p:nvSpPr>
          <p:spPr>
            <a:xfrm>
              <a:off x="2550319" y="592931"/>
              <a:ext cx="233362" cy="547688"/>
            </a:xfrm>
            <a:custGeom>
              <a:avLst/>
              <a:gdLst>
                <a:gd name="connsiteX0" fmla="*/ 0 w 233362"/>
                <a:gd name="connsiteY0" fmla="*/ 297657 h 547688"/>
                <a:gd name="connsiteX1" fmla="*/ 90487 w 233362"/>
                <a:gd name="connsiteY1" fmla="*/ 547688 h 547688"/>
                <a:gd name="connsiteX2" fmla="*/ 233362 w 233362"/>
                <a:gd name="connsiteY2" fmla="*/ 0 h 547688"/>
                <a:gd name="connsiteX3" fmla="*/ 0 w 233362"/>
                <a:gd name="connsiteY3" fmla="*/ 297657 h 547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3362" h="547688">
                  <a:moveTo>
                    <a:pt x="0" y="297657"/>
                  </a:moveTo>
                  <a:lnTo>
                    <a:pt x="90487" y="547688"/>
                  </a:lnTo>
                  <a:lnTo>
                    <a:pt x="233362" y="0"/>
                  </a:lnTo>
                  <a:lnTo>
                    <a:pt x="0" y="297657"/>
                  </a:lnTo>
                  <a:close/>
                </a:path>
              </a:pathLst>
            </a:cu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2CF140F-D455-4CF7-AC8E-019606A3F356}"/>
              </a:ext>
            </a:extLst>
          </p:cNvPr>
          <p:cNvGrpSpPr/>
          <p:nvPr userDrawn="1"/>
        </p:nvGrpSpPr>
        <p:grpSpPr>
          <a:xfrm>
            <a:off x="4992000" y="6812281"/>
            <a:ext cx="7200000" cy="45719"/>
            <a:chOff x="0" y="2545117"/>
            <a:chExt cx="12192000" cy="11619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9D6F7B4-69C0-47E9-9FD1-4EE277E003A9}"/>
                </a:ext>
              </a:extLst>
            </p:cNvPr>
            <p:cNvSpPr/>
            <p:nvPr/>
          </p:nvSpPr>
          <p:spPr>
            <a:xfrm>
              <a:off x="0" y="2545117"/>
              <a:ext cx="12192000" cy="1161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230F9A4-46F5-444F-AFF5-E6E0B58CFBD7}"/>
                </a:ext>
              </a:extLst>
            </p:cNvPr>
            <p:cNvSpPr/>
            <p:nvPr/>
          </p:nvSpPr>
          <p:spPr>
            <a:xfrm>
              <a:off x="4840950" y="2545117"/>
              <a:ext cx="1800000" cy="116196"/>
            </a:xfrm>
            <a:prstGeom prst="rect">
              <a:avLst/>
            </a:prstGeom>
            <a:solidFill>
              <a:srgbClr val="003F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F9FB2DB-B5CD-4AD2-8743-8FE868E9765A}"/>
                </a:ext>
              </a:extLst>
            </p:cNvPr>
            <p:cNvSpPr/>
            <p:nvPr/>
          </p:nvSpPr>
          <p:spPr>
            <a:xfrm>
              <a:off x="8251031" y="2545117"/>
              <a:ext cx="3940969" cy="116196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818848FE-8530-4A38-A2B0-D6D3ACB18915}"/>
              </a:ext>
            </a:extLst>
          </p:cNvPr>
          <p:cNvSpPr txBox="1"/>
          <p:nvPr userDrawn="1"/>
        </p:nvSpPr>
        <p:spPr>
          <a:xfrm>
            <a:off x="533400" y="6540057"/>
            <a:ext cx="4640238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Confidential. Copyright © </a:t>
            </a:r>
            <a:r>
              <a:rPr lang="en-US" sz="1200" err="1">
                <a:solidFill>
                  <a:schemeClr val="bg1">
                    <a:lumMod val="50000"/>
                  </a:schemeClr>
                </a:solidFill>
              </a:rPr>
              <a:t>SiFax</a:t>
            </a:r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 Group 2019</a:t>
            </a:r>
          </a:p>
        </p:txBody>
      </p:sp>
    </p:spTree>
    <p:extLst>
      <p:ext uri="{BB962C8B-B14F-4D97-AF65-F5344CB8AC3E}">
        <p14:creationId xmlns:p14="http://schemas.microsoft.com/office/powerpoint/2010/main" val="1806337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E23BC0-2C2A-44C8-9457-00F9ADF82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820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E23BC0-2C2A-44C8-9457-00F9ADF82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2B4B872-15D1-46C2-825D-7C7D592779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2" name="Picture 11" descr="A picture containing electronics, circuit&#10;&#10;Description automatically generated">
            <a:extLst>
              <a:ext uri="{FF2B5EF4-FFF2-40B4-BE49-F238E27FC236}">
                <a16:creationId xmlns:a16="http://schemas.microsoft.com/office/drawing/2014/main" id="{24E169F5-A41D-4AA6-8CBF-D30EB8534C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15" y="2981143"/>
            <a:ext cx="5881913" cy="1231106"/>
          </a:xfr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6315" y="4355352"/>
            <a:ext cx="5881913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picture containing person, person, holding, looking&#10;&#10;Description automatically generated">
            <a:extLst>
              <a:ext uri="{FF2B5EF4-FFF2-40B4-BE49-F238E27FC236}">
                <a16:creationId xmlns:a16="http://schemas.microsoft.com/office/drawing/2014/main" id="{70FB822E-6910-4F18-A8D1-1BC75BB264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42628" y="957518"/>
            <a:ext cx="4227285" cy="4942965"/>
          </a:xfrm>
          <a:prstGeom prst="rect">
            <a:avLst/>
          </a:prstGeom>
        </p:spPr>
      </p:pic>
      <p:pic>
        <p:nvPicPr>
          <p:cNvPr id="20" name="Picture 19" descr="A picture containing drawing&#10;&#10;Description automatically generated">
            <a:extLst>
              <a:ext uri="{FF2B5EF4-FFF2-40B4-BE49-F238E27FC236}">
                <a16:creationId xmlns:a16="http://schemas.microsoft.com/office/drawing/2014/main" id="{C0C8860A-3844-4014-988E-28766F9B6D3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315" y="1761309"/>
            <a:ext cx="2616199" cy="986680"/>
          </a:xfrm>
          <a:prstGeom prst="rect">
            <a:avLst/>
          </a:prstGeom>
        </p:spPr>
      </p:pic>
      <p:pic>
        <p:nvPicPr>
          <p:cNvPr id="13" name="Picture 12" descr="A picture containing object, clock, meter&#10;&#10;Description automatically generated">
            <a:extLst>
              <a:ext uri="{FF2B5EF4-FFF2-40B4-BE49-F238E27FC236}">
                <a16:creationId xmlns:a16="http://schemas.microsoft.com/office/drawing/2014/main" id="{AC06A7F7-0B85-42AB-8637-D37DE7013FD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46315" y="215052"/>
            <a:ext cx="3809997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315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E23BC0-2C2A-44C8-9457-00F9ADF82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2330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E23BC0-2C2A-44C8-9457-00F9ADF82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2B4B872-15D1-46C2-825D-7C7D592779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7" name="Picture 16" descr="A tree with a mountain in the background&#10;&#10;Description automatically generated">
            <a:extLst>
              <a:ext uri="{FF2B5EF4-FFF2-40B4-BE49-F238E27FC236}">
                <a16:creationId xmlns:a16="http://schemas.microsoft.com/office/drawing/2014/main" id="{ADE851CB-6E63-46B5-A0DD-D7615C0708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755DCE8-5571-4CC9-B660-67E84730F1D2}"/>
              </a:ext>
            </a:extLst>
          </p:cNvPr>
          <p:cNvSpPr/>
          <p:nvPr userDrawn="1"/>
        </p:nvSpPr>
        <p:spPr>
          <a:xfrm>
            <a:off x="1" y="4081762"/>
            <a:ext cx="12192001" cy="3058611"/>
          </a:xfrm>
          <a:custGeom>
            <a:avLst/>
            <a:gdLst>
              <a:gd name="connsiteX0" fmla="*/ 6096002 w 12192001"/>
              <a:gd name="connsiteY0" fmla="*/ 0 h 3058611"/>
              <a:gd name="connsiteX1" fmla="*/ 12133982 w 12192001"/>
              <a:gd name="connsiteY1" fmla="*/ 2672428 h 3058611"/>
              <a:gd name="connsiteX2" fmla="*/ 12192001 w 12192001"/>
              <a:gd name="connsiteY2" fmla="*/ 2739407 h 3058611"/>
              <a:gd name="connsiteX3" fmla="*/ 12192001 w 12192001"/>
              <a:gd name="connsiteY3" fmla="*/ 3058611 h 3058611"/>
              <a:gd name="connsiteX4" fmla="*/ 0 w 12192001"/>
              <a:gd name="connsiteY4" fmla="*/ 3058611 h 3058611"/>
              <a:gd name="connsiteX5" fmla="*/ 0 w 12192001"/>
              <a:gd name="connsiteY5" fmla="*/ 2739410 h 3058611"/>
              <a:gd name="connsiteX6" fmla="*/ 58022 w 12192001"/>
              <a:gd name="connsiteY6" fmla="*/ 2672428 h 3058611"/>
              <a:gd name="connsiteX7" fmla="*/ 6096002 w 12192001"/>
              <a:gd name="connsiteY7" fmla="*/ 0 h 3058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1" h="3058611">
                <a:moveTo>
                  <a:pt x="6096002" y="0"/>
                </a:moveTo>
                <a:cubicBezTo>
                  <a:pt x="8489285" y="0"/>
                  <a:pt x="10641835" y="1030699"/>
                  <a:pt x="12133982" y="2672428"/>
                </a:cubicBezTo>
                <a:lnTo>
                  <a:pt x="12192001" y="2739407"/>
                </a:lnTo>
                <a:lnTo>
                  <a:pt x="12192001" y="3058611"/>
                </a:lnTo>
                <a:lnTo>
                  <a:pt x="0" y="3058611"/>
                </a:lnTo>
                <a:lnTo>
                  <a:pt x="0" y="2739410"/>
                </a:lnTo>
                <a:lnTo>
                  <a:pt x="58022" y="2672428"/>
                </a:lnTo>
                <a:cubicBezTo>
                  <a:pt x="1550169" y="1030700"/>
                  <a:pt x="3702719" y="0"/>
                  <a:pt x="609600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778DB41-B791-4F89-95F0-58C4E66F76F0}"/>
              </a:ext>
            </a:extLst>
          </p:cNvPr>
          <p:cNvSpPr/>
          <p:nvPr userDrawn="1"/>
        </p:nvSpPr>
        <p:spPr>
          <a:xfrm>
            <a:off x="1" y="4220304"/>
            <a:ext cx="12192001" cy="2920069"/>
          </a:xfrm>
          <a:custGeom>
            <a:avLst/>
            <a:gdLst>
              <a:gd name="connsiteX0" fmla="*/ 6096003 w 12192001"/>
              <a:gd name="connsiteY0" fmla="*/ 0 h 2920069"/>
              <a:gd name="connsiteX1" fmla="*/ 12133982 w 12192001"/>
              <a:gd name="connsiteY1" fmla="*/ 2672428 h 2920069"/>
              <a:gd name="connsiteX2" fmla="*/ 12192001 w 12192001"/>
              <a:gd name="connsiteY2" fmla="*/ 2739407 h 2920069"/>
              <a:gd name="connsiteX3" fmla="*/ 12192001 w 12192001"/>
              <a:gd name="connsiteY3" fmla="*/ 2920069 h 2920069"/>
              <a:gd name="connsiteX4" fmla="*/ 0 w 12192001"/>
              <a:gd name="connsiteY4" fmla="*/ 2920069 h 2920069"/>
              <a:gd name="connsiteX5" fmla="*/ 0 w 12192001"/>
              <a:gd name="connsiteY5" fmla="*/ 2739410 h 2920069"/>
              <a:gd name="connsiteX6" fmla="*/ 58022 w 12192001"/>
              <a:gd name="connsiteY6" fmla="*/ 2672428 h 2920069"/>
              <a:gd name="connsiteX7" fmla="*/ 6096003 w 12192001"/>
              <a:gd name="connsiteY7" fmla="*/ 0 h 292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1" h="2920069">
                <a:moveTo>
                  <a:pt x="6096003" y="0"/>
                </a:moveTo>
                <a:cubicBezTo>
                  <a:pt x="8489285" y="0"/>
                  <a:pt x="10641835" y="1030699"/>
                  <a:pt x="12133982" y="2672428"/>
                </a:cubicBezTo>
                <a:lnTo>
                  <a:pt x="12192001" y="2739407"/>
                </a:lnTo>
                <a:lnTo>
                  <a:pt x="12192001" y="2920069"/>
                </a:lnTo>
                <a:lnTo>
                  <a:pt x="0" y="2920069"/>
                </a:lnTo>
                <a:lnTo>
                  <a:pt x="0" y="2739410"/>
                </a:lnTo>
                <a:lnTo>
                  <a:pt x="58022" y="2672428"/>
                </a:lnTo>
                <a:cubicBezTo>
                  <a:pt x="1550170" y="1030700"/>
                  <a:pt x="3702719" y="0"/>
                  <a:pt x="609600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6202" y="5821532"/>
            <a:ext cx="9719599" cy="615553"/>
          </a:xfrm>
        </p:spPr>
        <p:txBody>
          <a:bodyPr vert="horz" wrap="square" lIns="0" tIns="0" rIns="0" bIns="0" anchor="b">
            <a:spAutoFit/>
          </a:bodyPr>
          <a:lstStyle>
            <a:lvl1pPr algn="ctr"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36202" y="6580188"/>
            <a:ext cx="9719599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7" name="Picture 36" descr="A picture containing drawing&#10;&#10;Description automatically generated">
            <a:extLst>
              <a:ext uri="{FF2B5EF4-FFF2-40B4-BE49-F238E27FC236}">
                <a16:creationId xmlns:a16="http://schemas.microsoft.com/office/drawing/2014/main" id="{9F16497F-26C9-4A0E-9352-CD2D06A2D99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46315" y="215052"/>
            <a:ext cx="3810000" cy="685800"/>
          </a:xfrm>
          <a:prstGeom prst="rect">
            <a:avLst/>
          </a:prstGeom>
        </p:spPr>
      </p:pic>
      <p:pic>
        <p:nvPicPr>
          <p:cNvPr id="38" name="Picture 37" descr="A picture containing drawing&#10;&#10;Description automatically generated">
            <a:extLst>
              <a:ext uri="{FF2B5EF4-FFF2-40B4-BE49-F238E27FC236}">
                <a16:creationId xmlns:a16="http://schemas.microsoft.com/office/drawing/2014/main" id="{34C1E284-E574-4A32-A40D-181476317EF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0694" y="4425979"/>
            <a:ext cx="1830615" cy="690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588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E23BC0-2C2A-44C8-9457-00F9ADF82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098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E23BC0-2C2A-44C8-9457-00F9ADF82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Exposing the hidden world of secrets">
            <a:extLst>
              <a:ext uri="{FF2B5EF4-FFF2-40B4-BE49-F238E27FC236}">
                <a16:creationId xmlns:a16="http://schemas.microsoft.com/office/drawing/2014/main" id="{95BF379F-C166-4264-BF88-03BF63BE7D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470212" y="0"/>
            <a:ext cx="13904937" cy="7140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2B4B872-15D1-46C2-825D-7C7D592779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755DCE8-5571-4CC9-B660-67E84730F1D2}"/>
              </a:ext>
            </a:extLst>
          </p:cNvPr>
          <p:cNvSpPr/>
          <p:nvPr userDrawn="1"/>
        </p:nvSpPr>
        <p:spPr>
          <a:xfrm>
            <a:off x="1" y="4081762"/>
            <a:ext cx="12192001" cy="3058611"/>
          </a:xfrm>
          <a:custGeom>
            <a:avLst/>
            <a:gdLst>
              <a:gd name="connsiteX0" fmla="*/ 6096002 w 12192001"/>
              <a:gd name="connsiteY0" fmla="*/ 0 h 3058611"/>
              <a:gd name="connsiteX1" fmla="*/ 12133982 w 12192001"/>
              <a:gd name="connsiteY1" fmla="*/ 2672428 h 3058611"/>
              <a:gd name="connsiteX2" fmla="*/ 12192001 w 12192001"/>
              <a:gd name="connsiteY2" fmla="*/ 2739407 h 3058611"/>
              <a:gd name="connsiteX3" fmla="*/ 12192001 w 12192001"/>
              <a:gd name="connsiteY3" fmla="*/ 3058611 h 3058611"/>
              <a:gd name="connsiteX4" fmla="*/ 0 w 12192001"/>
              <a:gd name="connsiteY4" fmla="*/ 3058611 h 3058611"/>
              <a:gd name="connsiteX5" fmla="*/ 0 w 12192001"/>
              <a:gd name="connsiteY5" fmla="*/ 2739410 h 3058611"/>
              <a:gd name="connsiteX6" fmla="*/ 58022 w 12192001"/>
              <a:gd name="connsiteY6" fmla="*/ 2672428 h 3058611"/>
              <a:gd name="connsiteX7" fmla="*/ 6096002 w 12192001"/>
              <a:gd name="connsiteY7" fmla="*/ 0 h 3058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1" h="3058611">
                <a:moveTo>
                  <a:pt x="6096002" y="0"/>
                </a:moveTo>
                <a:cubicBezTo>
                  <a:pt x="8489285" y="0"/>
                  <a:pt x="10641835" y="1030699"/>
                  <a:pt x="12133982" y="2672428"/>
                </a:cubicBezTo>
                <a:lnTo>
                  <a:pt x="12192001" y="2739407"/>
                </a:lnTo>
                <a:lnTo>
                  <a:pt x="12192001" y="3058611"/>
                </a:lnTo>
                <a:lnTo>
                  <a:pt x="0" y="3058611"/>
                </a:lnTo>
                <a:lnTo>
                  <a:pt x="0" y="2739410"/>
                </a:lnTo>
                <a:lnTo>
                  <a:pt x="58022" y="2672428"/>
                </a:lnTo>
                <a:cubicBezTo>
                  <a:pt x="1550169" y="1030700"/>
                  <a:pt x="3702719" y="0"/>
                  <a:pt x="609600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778DB41-B791-4F89-95F0-58C4E66F76F0}"/>
              </a:ext>
            </a:extLst>
          </p:cNvPr>
          <p:cNvSpPr/>
          <p:nvPr userDrawn="1"/>
        </p:nvSpPr>
        <p:spPr>
          <a:xfrm>
            <a:off x="1" y="4220304"/>
            <a:ext cx="12192001" cy="2920069"/>
          </a:xfrm>
          <a:custGeom>
            <a:avLst/>
            <a:gdLst>
              <a:gd name="connsiteX0" fmla="*/ 6096003 w 12192001"/>
              <a:gd name="connsiteY0" fmla="*/ 0 h 2920069"/>
              <a:gd name="connsiteX1" fmla="*/ 12133982 w 12192001"/>
              <a:gd name="connsiteY1" fmla="*/ 2672428 h 2920069"/>
              <a:gd name="connsiteX2" fmla="*/ 12192001 w 12192001"/>
              <a:gd name="connsiteY2" fmla="*/ 2739407 h 2920069"/>
              <a:gd name="connsiteX3" fmla="*/ 12192001 w 12192001"/>
              <a:gd name="connsiteY3" fmla="*/ 2920069 h 2920069"/>
              <a:gd name="connsiteX4" fmla="*/ 0 w 12192001"/>
              <a:gd name="connsiteY4" fmla="*/ 2920069 h 2920069"/>
              <a:gd name="connsiteX5" fmla="*/ 0 w 12192001"/>
              <a:gd name="connsiteY5" fmla="*/ 2739410 h 2920069"/>
              <a:gd name="connsiteX6" fmla="*/ 58022 w 12192001"/>
              <a:gd name="connsiteY6" fmla="*/ 2672428 h 2920069"/>
              <a:gd name="connsiteX7" fmla="*/ 6096003 w 12192001"/>
              <a:gd name="connsiteY7" fmla="*/ 0 h 2920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1" h="2920069">
                <a:moveTo>
                  <a:pt x="6096003" y="0"/>
                </a:moveTo>
                <a:cubicBezTo>
                  <a:pt x="8489285" y="0"/>
                  <a:pt x="10641835" y="1030699"/>
                  <a:pt x="12133982" y="2672428"/>
                </a:cubicBezTo>
                <a:lnTo>
                  <a:pt x="12192001" y="2739407"/>
                </a:lnTo>
                <a:lnTo>
                  <a:pt x="12192001" y="2920069"/>
                </a:lnTo>
                <a:lnTo>
                  <a:pt x="0" y="2920069"/>
                </a:lnTo>
                <a:lnTo>
                  <a:pt x="0" y="2739410"/>
                </a:lnTo>
                <a:lnTo>
                  <a:pt x="58022" y="2672428"/>
                </a:lnTo>
                <a:cubicBezTo>
                  <a:pt x="1550170" y="1030700"/>
                  <a:pt x="3702719" y="0"/>
                  <a:pt x="609600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6202" y="5821532"/>
            <a:ext cx="9719599" cy="615553"/>
          </a:xfrm>
        </p:spPr>
        <p:txBody>
          <a:bodyPr vert="horz" wrap="square" lIns="0" tIns="0" rIns="0" bIns="0" anchor="b">
            <a:spAutoFit/>
          </a:bodyPr>
          <a:lstStyle>
            <a:lvl1pPr algn="ctr"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36202" y="6580188"/>
            <a:ext cx="9719599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7" name="Picture 36" descr="A picture containing drawing&#10;&#10;Description automatically generated">
            <a:extLst>
              <a:ext uri="{FF2B5EF4-FFF2-40B4-BE49-F238E27FC236}">
                <a16:creationId xmlns:a16="http://schemas.microsoft.com/office/drawing/2014/main" id="{9F16497F-26C9-4A0E-9352-CD2D06A2D9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4" y="179307"/>
            <a:ext cx="2285801" cy="411444"/>
          </a:xfrm>
          <a:prstGeom prst="rect">
            <a:avLst/>
          </a:prstGeom>
        </p:spPr>
      </p:pic>
      <p:pic>
        <p:nvPicPr>
          <p:cNvPr id="38" name="Picture 37" descr="A picture containing drawing&#10;&#10;Description automatically generated">
            <a:extLst>
              <a:ext uri="{FF2B5EF4-FFF2-40B4-BE49-F238E27FC236}">
                <a16:creationId xmlns:a16="http://schemas.microsoft.com/office/drawing/2014/main" id="{34C1E284-E574-4A32-A40D-181476317EF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0694" y="4425979"/>
            <a:ext cx="1830615" cy="690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317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E23BC0-2C2A-44C8-9457-00F9ADF82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424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E23BC0-2C2A-44C8-9457-00F9ADF82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2B4B872-15D1-46C2-825D-7C7D592779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3" descr="A person standing on a dry grass field&#10;&#10;Description automatically generated">
            <a:extLst>
              <a:ext uri="{FF2B5EF4-FFF2-40B4-BE49-F238E27FC236}">
                <a16:creationId xmlns:a16="http://schemas.microsoft.com/office/drawing/2014/main" id="{37F2A22E-6521-4B73-9A21-87F8395924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D08DED7-026E-4CAC-BD23-3C7A72F94B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222" y="5459175"/>
            <a:ext cx="10691559" cy="615553"/>
          </a:xfrm>
        </p:spPr>
        <p:txBody>
          <a:bodyPr vert="horz" wrap="square" lIns="0" tIns="0" rIns="0" bIns="0" anchor="b">
            <a:spAutoFit/>
          </a:bodyPr>
          <a:lstStyle>
            <a:lvl1pPr algn="ctr"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1F81F36-CC74-4C32-83FB-E9D5421C90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0222" y="6161187"/>
            <a:ext cx="10691559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Gráfico 3">
            <a:extLst>
              <a:ext uri="{FF2B5EF4-FFF2-40B4-BE49-F238E27FC236}">
                <a16:creationId xmlns:a16="http://schemas.microsoft.com/office/drawing/2014/main" id="{58D4CB8D-42F9-4D49-8F9A-AFE2B51A5787}"/>
              </a:ext>
            </a:extLst>
          </p:cNvPr>
          <p:cNvSpPr/>
          <p:nvPr userDrawn="1"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bg1">
                <a:alpha val="32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737504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E23BC0-2C2A-44C8-9457-00F9ADF82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819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E23BC0-2C2A-44C8-9457-00F9ADF82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2B4B872-15D1-46C2-825D-7C7D592779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3" descr="A person standing on a dry grass field&#10;&#10;Description automatically generated">
            <a:extLst>
              <a:ext uri="{FF2B5EF4-FFF2-40B4-BE49-F238E27FC236}">
                <a16:creationId xmlns:a16="http://schemas.microsoft.com/office/drawing/2014/main" id="{37F2A22E-6521-4B73-9A21-87F8395924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D08DED7-026E-4CAC-BD23-3C7A72F94B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222" y="5459175"/>
            <a:ext cx="10691559" cy="615553"/>
          </a:xfrm>
        </p:spPr>
        <p:txBody>
          <a:bodyPr vert="horz" wrap="square" lIns="0" tIns="0" rIns="0" bIns="0" anchor="b">
            <a:spAutoFit/>
          </a:bodyPr>
          <a:lstStyle>
            <a:lvl1pPr algn="ctr"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1F81F36-CC74-4C32-83FB-E9D5421C90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0222" y="6161187"/>
            <a:ext cx="10691559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36DFF650-6D0E-4AD1-B815-AA85EBD9E95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489200" y="274597"/>
            <a:ext cx="3810000" cy="685800"/>
          </a:xfrm>
          <a:prstGeom prst="rect">
            <a:avLst/>
          </a:prstGeom>
        </p:spPr>
      </p:pic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FB373061-2F11-45F2-9A3C-B19BFFA654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385" y="272296"/>
            <a:ext cx="1830615" cy="690403"/>
          </a:xfrm>
          <a:prstGeom prst="rect">
            <a:avLst/>
          </a:prstGeom>
        </p:spPr>
      </p:pic>
      <p:sp>
        <p:nvSpPr>
          <p:cNvPr id="16" name="Gráfico 3">
            <a:extLst>
              <a:ext uri="{FF2B5EF4-FFF2-40B4-BE49-F238E27FC236}">
                <a16:creationId xmlns:a16="http://schemas.microsoft.com/office/drawing/2014/main" id="{58D4CB8D-42F9-4D49-8F9A-AFE2B51A5787}"/>
              </a:ext>
            </a:extLst>
          </p:cNvPr>
          <p:cNvSpPr/>
          <p:nvPr userDrawn="1"/>
        </p:nvSpPr>
        <p:spPr>
          <a:xfrm rot="16200000">
            <a:off x="-1659603" y="-4733129"/>
            <a:ext cx="13589000" cy="20622504"/>
          </a:xfrm>
          <a:custGeom>
            <a:avLst/>
            <a:gdLst>
              <a:gd name="connsiteX0" fmla="*/ 0 w 4519013"/>
              <a:gd name="connsiteY0" fmla="*/ 3612849 h 6858000"/>
              <a:gd name="connsiteX1" fmla="*/ 0 w 4519013"/>
              <a:gd name="connsiteY1" fmla="*/ 0 h 6858000"/>
              <a:gd name="connsiteX2" fmla="*/ 2666960 w 4519013"/>
              <a:gd name="connsiteY2" fmla="*/ 2836941 h 6858000"/>
              <a:gd name="connsiteX3" fmla="*/ 557633 w 4519013"/>
              <a:gd name="connsiteY3" fmla="*/ 4097814 h 6858000"/>
              <a:gd name="connsiteX4" fmla="*/ 0 w 4519013"/>
              <a:gd name="connsiteY4" fmla="*/ 3612849 h 6858000"/>
              <a:gd name="connsiteX5" fmla="*/ 994819 w 4519013"/>
              <a:gd name="connsiteY5" fmla="*/ 0 h 6858000"/>
              <a:gd name="connsiteX6" fmla="*/ 2464876 w 4519013"/>
              <a:gd name="connsiteY6" fmla="*/ 0 h 6858000"/>
              <a:gd name="connsiteX7" fmla="*/ 2995039 w 4519013"/>
              <a:gd name="connsiteY7" fmla="*/ 460656 h 6858000"/>
              <a:gd name="connsiteX8" fmla="*/ 2802235 w 4519013"/>
              <a:gd name="connsiteY8" fmla="*/ 2048907 h 6858000"/>
              <a:gd name="connsiteX9" fmla="*/ 994819 w 4519013"/>
              <a:gd name="connsiteY9" fmla="*/ 0 h 6858000"/>
              <a:gd name="connsiteX10" fmla="*/ 3259616 w 4519013"/>
              <a:gd name="connsiteY10" fmla="*/ 410033 h 6858000"/>
              <a:gd name="connsiteX11" fmla="*/ 4519013 w 4519013"/>
              <a:gd name="connsiteY11" fmla="*/ 0 h 6858000"/>
              <a:gd name="connsiteX12" fmla="*/ 4519013 w 4519013"/>
              <a:gd name="connsiteY12" fmla="*/ 1019147 h 6858000"/>
              <a:gd name="connsiteX13" fmla="*/ 3598664 w 4519013"/>
              <a:gd name="connsiteY13" fmla="*/ 1019147 h 6858000"/>
              <a:gd name="connsiteX14" fmla="*/ 3259616 w 4519013"/>
              <a:gd name="connsiteY14" fmla="*/ 410033 h 6858000"/>
              <a:gd name="connsiteX15" fmla="*/ 3402688 w 4519013"/>
              <a:gd name="connsiteY15" fmla="*/ 1549953 h 6858000"/>
              <a:gd name="connsiteX16" fmla="*/ 4519013 w 4519013"/>
              <a:gd name="connsiteY16" fmla="*/ 1549953 h 6858000"/>
              <a:gd name="connsiteX17" fmla="*/ 4519013 w 4519013"/>
              <a:gd name="connsiteY17" fmla="*/ 2987900 h 6858000"/>
              <a:gd name="connsiteX18" fmla="*/ 4082198 w 4519013"/>
              <a:gd name="connsiteY18" fmla="*/ 3280372 h 6858000"/>
              <a:gd name="connsiteX19" fmla="*/ 3111450 w 4519013"/>
              <a:gd name="connsiteY19" fmla="*/ 2987900 h 6858000"/>
              <a:gd name="connsiteX20" fmla="*/ 3402688 w 4519013"/>
              <a:gd name="connsiteY20" fmla="*/ 1549953 h 6858000"/>
              <a:gd name="connsiteX21" fmla="*/ 994819 w 4519013"/>
              <a:gd name="connsiteY21" fmla="*/ 4414668 h 6858000"/>
              <a:gd name="connsiteX22" fmla="*/ 2542963 w 4519013"/>
              <a:gd name="connsiteY22" fmla="*/ 3397155 h 6858000"/>
              <a:gd name="connsiteX23" fmla="*/ 3534777 w 4519013"/>
              <a:gd name="connsiteY23" fmla="*/ 3639426 h 6858000"/>
              <a:gd name="connsiteX24" fmla="*/ 2900457 w 4519013"/>
              <a:gd name="connsiteY24" fmla="*/ 5286814 h 6858000"/>
              <a:gd name="connsiteX25" fmla="*/ 1744680 w 4519013"/>
              <a:gd name="connsiteY25" fmla="*/ 5286814 h 6858000"/>
              <a:gd name="connsiteX26" fmla="*/ 994819 w 4519013"/>
              <a:gd name="connsiteY26" fmla="*/ 4414668 h 6858000"/>
              <a:gd name="connsiteX27" fmla="*/ 0 w 4519013"/>
              <a:gd name="connsiteY27" fmla="*/ 6858000 h 6858000"/>
              <a:gd name="connsiteX28" fmla="*/ 0 w 4519013"/>
              <a:gd name="connsiteY28" fmla="*/ 4235822 h 6858000"/>
              <a:gd name="connsiteX29" fmla="*/ 1820307 w 4519013"/>
              <a:gd name="connsiteY29" fmla="*/ 6129584 h 6858000"/>
              <a:gd name="connsiteX30" fmla="*/ 1820307 w 4519013"/>
              <a:gd name="connsiteY30" fmla="*/ 6858000 h 6858000"/>
              <a:gd name="connsiteX31" fmla="*/ 0 w 4519013"/>
              <a:gd name="connsiteY31" fmla="*/ 6858000 h 6858000"/>
              <a:gd name="connsiteX32" fmla="*/ 2363103 w 4519013"/>
              <a:gd name="connsiteY32" fmla="*/ 6858000 h 6858000"/>
              <a:gd name="connsiteX33" fmla="*/ 2254215 w 4519013"/>
              <a:gd name="connsiteY33" fmla="*/ 5764543 h 6858000"/>
              <a:gd name="connsiteX34" fmla="*/ 3258125 w 4519013"/>
              <a:gd name="connsiteY34" fmla="*/ 5983257 h 6858000"/>
              <a:gd name="connsiteX35" fmla="*/ 3524194 w 4519013"/>
              <a:gd name="connsiteY35" fmla="*/ 6858000 h 6858000"/>
              <a:gd name="connsiteX36" fmla="*/ 2363103 w 4519013"/>
              <a:gd name="connsiteY36" fmla="*/ 6858000 h 6858000"/>
              <a:gd name="connsiteX37" fmla="*/ 3111450 w 4519013"/>
              <a:gd name="connsiteY37" fmla="*/ 5404157 h 6858000"/>
              <a:gd name="connsiteX38" fmla="*/ 4519013 w 4519013"/>
              <a:gd name="connsiteY38" fmla="*/ 3683783 h 6858000"/>
              <a:gd name="connsiteX39" fmla="*/ 4519013 w 4519013"/>
              <a:gd name="connsiteY39" fmla="*/ 6858000 h 6858000"/>
              <a:gd name="connsiteX40" fmla="*/ 3111450 w 4519013"/>
              <a:gd name="connsiteY40" fmla="*/ 540415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519013" h="6858000">
                <a:moveTo>
                  <a:pt x="0" y="3612849"/>
                </a:moveTo>
                <a:lnTo>
                  <a:pt x="0" y="0"/>
                </a:lnTo>
                <a:lnTo>
                  <a:pt x="2666960" y="2836941"/>
                </a:lnTo>
                <a:lnTo>
                  <a:pt x="557633" y="4097814"/>
                </a:lnTo>
                <a:lnTo>
                  <a:pt x="0" y="3612849"/>
                </a:lnTo>
                <a:close/>
                <a:moveTo>
                  <a:pt x="994819" y="0"/>
                </a:moveTo>
                <a:lnTo>
                  <a:pt x="2464876" y="0"/>
                </a:lnTo>
                <a:lnTo>
                  <a:pt x="2995039" y="460656"/>
                </a:lnTo>
                <a:lnTo>
                  <a:pt x="2802235" y="2048907"/>
                </a:lnTo>
                <a:lnTo>
                  <a:pt x="994819" y="0"/>
                </a:lnTo>
                <a:close/>
                <a:moveTo>
                  <a:pt x="3259616" y="410033"/>
                </a:moveTo>
                <a:lnTo>
                  <a:pt x="4519013" y="0"/>
                </a:lnTo>
                <a:lnTo>
                  <a:pt x="4519013" y="1019147"/>
                </a:lnTo>
                <a:lnTo>
                  <a:pt x="3598664" y="1019147"/>
                </a:lnTo>
                <a:lnTo>
                  <a:pt x="3259616" y="410033"/>
                </a:lnTo>
                <a:close/>
                <a:moveTo>
                  <a:pt x="3402688" y="1549953"/>
                </a:moveTo>
                <a:lnTo>
                  <a:pt x="4519013" y="1549953"/>
                </a:lnTo>
                <a:lnTo>
                  <a:pt x="4519013" y="2987900"/>
                </a:lnTo>
                <a:lnTo>
                  <a:pt x="4082198" y="3280372"/>
                </a:lnTo>
                <a:lnTo>
                  <a:pt x="3111450" y="2987900"/>
                </a:lnTo>
                <a:lnTo>
                  <a:pt x="3402688" y="1549953"/>
                </a:lnTo>
                <a:close/>
                <a:moveTo>
                  <a:pt x="994819" y="4414668"/>
                </a:moveTo>
                <a:lnTo>
                  <a:pt x="2542963" y="3397155"/>
                </a:lnTo>
                <a:lnTo>
                  <a:pt x="3534777" y="3639426"/>
                </a:lnTo>
                <a:lnTo>
                  <a:pt x="2900457" y="5286814"/>
                </a:lnTo>
                <a:lnTo>
                  <a:pt x="1744680" y="5286814"/>
                </a:lnTo>
                <a:lnTo>
                  <a:pt x="994819" y="4414668"/>
                </a:lnTo>
                <a:close/>
                <a:moveTo>
                  <a:pt x="0" y="6858000"/>
                </a:moveTo>
                <a:lnTo>
                  <a:pt x="0" y="4235822"/>
                </a:lnTo>
                <a:lnTo>
                  <a:pt x="1820307" y="6129584"/>
                </a:lnTo>
                <a:lnTo>
                  <a:pt x="1820307" y="6858000"/>
                </a:lnTo>
                <a:lnTo>
                  <a:pt x="0" y="6858000"/>
                </a:lnTo>
                <a:close/>
                <a:moveTo>
                  <a:pt x="2363103" y="6858000"/>
                </a:moveTo>
                <a:lnTo>
                  <a:pt x="2254215" y="5764543"/>
                </a:lnTo>
                <a:lnTo>
                  <a:pt x="3258125" y="5983257"/>
                </a:lnTo>
                <a:lnTo>
                  <a:pt x="3524194" y="6858000"/>
                </a:lnTo>
                <a:lnTo>
                  <a:pt x="2363103" y="6858000"/>
                </a:lnTo>
                <a:close/>
                <a:moveTo>
                  <a:pt x="3111450" y="5404157"/>
                </a:moveTo>
                <a:lnTo>
                  <a:pt x="4519013" y="3683783"/>
                </a:lnTo>
                <a:lnTo>
                  <a:pt x="4519013" y="6858000"/>
                </a:lnTo>
                <a:lnTo>
                  <a:pt x="3111450" y="5404157"/>
                </a:lnTo>
                <a:close/>
              </a:path>
            </a:pathLst>
          </a:custGeom>
          <a:noFill/>
          <a:ln w="6350" cap="flat">
            <a:solidFill>
              <a:schemeClr val="bg1">
                <a:alpha val="32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03992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8E23BC0-2C2A-44C8-9457-00F9ADF82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340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8E23BC0-2C2A-44C8-9457-00F9ADF82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DEB98C9C-578F-447A-9E08-5058A32611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6436" y="925286"/>
            <a:ext cx="5027997" cy="5008528"/>
          </a:xfrm>
          <a:custGeom>
            <a:avLst/>
            <a:gdLst>
              <a:gd name="connsiteX0" fmla="*/ 2395396 w 4790792"/>
              <a:gd name="connsiteY0" fmla="*/ 0 h 4790792"/>
              <a:gd name="connsiteX1" fmla="*/ 4790792 w 4790792"/>
              <a:gd name="connsiteY1" fmla="*/ 2395396 h 4790792"/>
              <a:gd name="connsiteX2" fmla="*/ 4790792 w 4790792"/>
              <a:gd name="connsiteY2" fmla="*/ 4790792 h 4790792"/>
              <a:gd name="connsiteX3" fmla="*/ 0 w 4790792"/>
              <a:gd name="connsiteY3" fmla="*/ 4790792 h 4790792"/>
              <a:gd name="connsiteX4" fmla="*/ 0 w 4790792"/>
              <a:gd name="connsiteY4" fmla="*/ 2395396 h 4790792"/>
              <a:gd name="connsiteX5" fmla="*/ 2395396 w 4790792"/>
              <a:gd name="connsiteY5" fmla="*/ 0 h 4790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0792" h="4790792">
                <a:moveTo>
                  <a:pt x="2395396" y="0"/>
                </a:moveTo>
                <a:cubicBezTo>
                  <a:pt x="3718337" y="0"/>
                  <a:pt x="4790792" y="1072455"/>
                  <a:pt x="4790792" y="2395396"/>
                </a:cubicBezTo>
                <a:lnTo>
                  <a:pt x="4790792" y="4790792"/>
                </a:lnTo>
                <a:lnTo>
                  <a:pt x="0" y="4790792"/>
                </a:lnTo>
                <a:lnTo>
                  <a:pt x="0" y="2395396"/>
                </a:lnTo>
                <a:cubicBezTo>
                  <a:pt x="0" y="1072455"/>
                  <a:pt x="1072455" y="0"/>
                  <a:pt x="2395396" y="0"/>
                </a:cubicBezTo>
                <a:close/>
              </a:path>
            </a:pathLst>
          </a:custGeom>
        </p:spPr>
      </p:pic>
      <p:pic>
        <p:nvPicPr>
          <p:cNvPr id="13" name="Gráfico 9">
            <a:extLst>
              <a:ext uri="{FF2B5EF4-FFF2-40B4-BE49-F238E27FC236}">
                <a16:creationId xmlns:a16="http://schemas.microsoft.com/office/drawing/2014/main" id="{AA361774-5865-4302-AA57-416538EC3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50574" t="31321" r="8809" b="11117"/>
          <a:stretch/>
        </p:blipFill>
        <p:spPr>
          <a:xfrm>
            <a:off x="5965371" y="670016"/>
            <a:ext cx="5510129" cy="5517969"/>
          </a:xfrm>
          <a:prstGeom prst="rect">
            <a:avLst/>
          </a:prstGeom>
        </p:spPr>
      </p:pic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2B4B872-15D1-46C2-825D-7C7D592779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905" y="2690337"/>
            <a:ext cx="5309292" cy="1477328"/>
          </a:xfrm>
        </p:spPr>
        <p:txBody>
          <a:bodyPr vert="horz" wrap="square" lIns="0" tIns="0" rIns="0" bIns="0" anchor="ctr">
            <a:spAutoFit/>
          </a:bodyPr>
          <a:lstStyle>
            <a:lvl1pPr algn="l">
              <a:lnSpc>
                <a:spcPct val="100000"/>
              </a:lnSpc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69A7B05E-36F6-4276-A356-EDF68577AD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829" y="469642"/>
            <a:ext cx="2230899" cy="959962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7EA954B-FA9C-4944-9AF5-89AD1749B725}"/>
              </a:ext>
            </a:extLst>
          </p:cNvPr>
          <p:cNvGrpSpPr/>
          <p:nvPr userDrawn="1"/>
        </p:nvGrpSpPr>
        <p:grpSpPr>
          <a:xfrm>
            <a:off x="375905" y="382546"/>
            <a:ext cx="4251457" cy="547362"/>
            <a:chOff x="504460" y="5622203"/>
            <a:chExt cx="4251457" cy="547362"/>
          </a:xfrm>
        </p:grpSpPr>
        <p:pic>
          <p:nvPicPr>
            <p:cNvPr id="14" name="Picture 13" descr="A picture containing object, clock, meter&#10;&#10;Description automatically generated">
              <a:extLst>
                <a:ext uri="{FF2B5EF4-FFF2-40B4-BE49-F238E27FC236}">
                  <a16:creationId xmlns:a16="http://schemas.microsoft.com/office/drawing/2014/main" id="{8DE3F957-1C4F-471C-8D96-D336DFBA3E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7340" y="5645812"/>
              <a:ext cx="2778577" cy="500144"/>
            </a:xfrm>
            <a:prstGeom prst="rect">
              <a:avLst/>
            </a:prstGeom>
          </p:spPr>
        </p:pic>
        <p:pic>
          <p:nvPicPr>
            <p:cNvPr id="16" name="Picture 1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54ECAD5C-A528-4A30-AA82-9776C103D6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4460" y="5622203"/>
              <a:ext cx="1451340" cy="547362"/>
            </a:xfrm>
            <a:prstGeom prst="rect">
              <a:avLst/>
            </a:prstGeom>
            <a:solidFill>
              <a:schemeClr val="bg1"/>
            </a:solidFill>
          </p:spPr>
        </p:pic>
      </p:grpSp>
    </p:spTree>
    <p:extLst>
      <p:ext uri="{BB962C8B-B14F-4D97-AF65-F5344CB8AC3E}">
        <p14:creationId xmlns:p14="http://schemas.microsoft.com/office/powerpoint/2010/main" val="26403570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5888E0-71A5-469F-B817-F4AFD05F1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3338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5888E0-71A5-469F-B817-F4AFD05F1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F80B627-6C29-4775-9249-2D0EB33A07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242818-1552-4102-9839-951DB63E8952}"/>
              </a:ext>
            </a:extLst>
          </p:cNvPr>
          <p:cNvSpPr/>
          <p:nvPr userDrawn="1"/>
        </p:nvSpPr>
        <p:spPr>
          <a:xfrm>
            <a:off x="0" y="6413501"/>
            <a:ext cx="12192000" cy="444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FE906-6AF2-4D10-8115-E5C2304B6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687" y="411239"/>
            <a:ext cx="11386626" cy="430887"/>
          </a:xfrm>
        </p:spPr>
        <p:txBody>
          <a:bodyPr vert="horz" wrap="square" lIns="0" tIns="0" rIns="0" bIns="0" anchor="ctr" anchorCtr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9" name="Gráfico 9">
            <a:extLst>
              <a:ext uri="{FF2B5EF4-FFF2-40B4-BE49-F238E27FC236}">
                <a16:creationId xmlns:a16="http://schemas.microsoft.com/office/drawing/2014/main" id="{B8E77296-8D04-4DE3-923C-29A8F664EC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574" t="31321" r="8809" b="11117"/>
          <a:stretch/>
        </p:blipFill>
        <p:spPr>
          <a:xfrm>
            <a:off x="11661651" y="6471672"/>
            <a:ext cx="327691" cy="32815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D0693A-C2BA-4F4A-A579-A7B65B788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0155" y="6587385"/>
            <a:ext cx="150682" cy="153888"/>
          </a:xfrm>
        </p:spPr>
        <p:txBody>
          <a:bodyPr wrap="none" lIns="0" tIns="0" rIns="0" bIns="0">
            <a:sp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27A278C3-3159-471E-8033-DC41E6B301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1" name="Picture 30" descr="A picture containing drawing&#10;&#10;Description automatically generated">
            <a:extLst>
              <a:ext uri="{FF2B5EF4-FFF2-40B4-BE49-F238E27FC236}">
                <a16:creationId xmlns:a16="http://schemas.microsoft.com/office/drawing/2014/main" id="{7459C54D-3FA2-4A7E-AAE7-EC387B347B8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837" y="6494793"/>
            <a:ext cx="747508" cy="281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734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C41F27-EAB6-43DE-A069-0C4CF86C3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778442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47" imgH="348" progId="TCLayout.ActiveDocument.1">
                  <p:embed/>
                </p:oleObj>
              </mc:Choice>
              <mc:Fallback>
                <p:oleObj name="think-cell Slide" r:id="rId2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0C41F27-EAB6-43DE-A069-0C4CF86C3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74AB0DB-3C95-4749-9DB6-EE2AC8B330A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F93E24-6AFD-49A1-93F6-450BCA5D5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E08987-77CD-4EA5-AA8B-D7BDD2836C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B93B52-BC32-4E64-9364-54DC441410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B2A235-85EE-4F63-9E99-2B891E323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6DE43D-8F57-4B4E-9321-439A11303D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A278C3-3159-471E-8033-DC41E6B301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136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0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37.jpeg"/><Relationship Id="rId4" Type="http://schemas.openxmlformats.org/officeDocument/2006/relationships/image" Target="../media/image1.emf"/><Relationship Id="rId9" Type="http://schemas.openxmlformats.org/officeDocument/2006/relationships/image" Target="../media/image3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9.xml"/><Relationship Id="rId4" Type="http://schemas.openxmlformats.org/officeDocument/2006/relationships/image" Target="../media/image2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4" Type="http://schemas.openxmlformats.org/officeDocument/2006/relationships/image" Target="../media/image4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1.xml"/><Relationship Id="rId4" Type="http://schemas.openxmlformats.org/officeDocument/2006/relationships/image" Target="../media/image2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2.xml"/><Relationship Id="rId4" Type="http://schemas.openxmlformats.org/officeDocument/2006/relationships/image" Target="../media/image4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4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5.xml"/><Relationship Id="rId4" Type="http://schemas.openxmlformats.org/officeDocument/2006/relationships/image" Target="../media/image38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6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7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8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1.xml"/><Relationship Id="rId4" Type="http://schemas.openxmlformats.org/officeDocument/2006/relationships/image" Target="../media/image2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9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0.xml"/><Relationship Id="rId4" Type="http://schemas.openxmlformats.org/officeDocument/2006/relationships/image" Target="../media/image38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1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2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3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4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2.xml"/><Relationship Id="rId4" Type="http://schemas.openxmlformats.org/officeDocument/2006/relationships/image" Target="../media/image2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3.xml"/><Relationship Id="rId4" Type="http://schemas.openxmlformats.org/officeDocument/2006/relationships/image" Target="../media/image2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4" Type="http://schemas.openxmlformats.org/officeDocument/2006/relationships/image" Target="../media/image3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5.xml"/><Relationship Id="rId4" Type="http://schemas.openxmlformats.org/officeDocument/2006/relationships/image" Target="../media/image3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6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7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8.xml"/><Relationship Id="rId4" Type="http://schemas.openxmlformats.org/officeDocument/2006/relationships/image" Target="../media/image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4801888-DCF6-2867-3119-9D584FF5EC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4801888-DCF6-2867-3119-9D584FF5EC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A633A4C-0B26-1A53-FDB3-9E10553009C0}"/>
              </a:ext>
            </a:extLst>
          </p:cNvPr>
          <p:cNvSpPr/>
          <p:nvPr/>
        </p:nvSpPr>
        <p:spPr>
          <a:xfrm>
            <a:off x="1" y="5529791"/>
            <a:ext cx="7658099" cy="1328209"/>
          </a:xfrm>
          <a:custGeom>
            <a:avLst/>
            <a:gdLst>
              <a:gd name="connsiteX0" fmla="*/ 1525522 w 10109660"/>
              <a:gd name="connsiteY0" fmla="*/ 939 h 1753404"/>
              <a:gd name="connsiteX1" fmla="*/ 2695122 w 10109660"/>
              <a:gd name="connsiteY1" fmla="*/ 82049 h 1753404"/>
              <a:gd name="connsiteX2" fmla="*/ 6495143 w 10109660"/>
              <a:gd name="connsiteY2" fmla="*/ 934080 h 1753404"/>
              <a:gd name="connsiteX3" fmla="*/ 10048731 w 10109660"/>
              <a:gd name="connsiteY3" fmla="*/ 1746420 h 1753404"/>
              <a:gd name="connsiteX4" fmla="*/ 10109660 w 10109660"/>
              <a:gd name="connsiteY4" fmla="*/ 1753404 h 1753404"/>
              <a:gd name="connsiteX5" fmla="*/ 0 w 10109660"/>
              <a:gd name="connsiteY5" fmla="*/ 1753404 h 1753404"/>
              <a:gd name="connsiteX6" fmla="*/ 0 w 10109660"/>
              <a:gd name="connsiteY6" fmla="*/ 136869 h 1753404"/>
              <a:gd name="connsiteX7" fmla="*/ 39008 w 10109660"/>
              <a:gd name="connsiteY7" fmla="*/ 124513 h 1753404"/>
              <a:gd name="connsiteX8" fmla="*/ 1525522 w 10109660"/>
              <a:gd name="connsiteY8" fmla="*/ 939 h 1753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09660" h="1753404">
                <a:moveTo>
                  <a:pt x="1525522" y="939"/>
                </a:moveTo>
                <a:cubicBezTo>
                  <a:pt x="1893846" y="5973"/>
                  <a:pt x="2291614" y="31452"/>
                  <a:pt x="2695122" y="82049"/>
                </a:cubicBezTo>
                <a:cubicBezTo>
                  <a:pt x="3771145" y="216977"/>
                  <a:pt x="5276548" y="594530"/>
                  <a:pt x="6495143" y="934080"/>
                </a:cubicBezTo>
                <a:cubicBezTo>
                  <a:pt x="7561414" y="1231187"/>
                  <a:pt x="9364699" y="1653272"/>
                  <a:pt x="10048731" y="1746420"/>
                </a:cubicBezTo>
                <a:lnTo>
                  <a:pt x="10109660" y="1753404"/>
                </a:lnTo>
                <a:lnTo>
                  <a:pt x="0" y="1753404"/>
                </a:lnTo>
                <a:lnTo>
                  <a:pt x="0" y="136869"/>
                </a:lnTo>
                <a:lnTo>
                  <a:pt x="39008" y="124513"/>
                </a:lnTo>
                <a:cubicBezTo>
                  <a:pt x="379565" y="40953"/>
                  <a:pt x="911649" y="-7451"/>
                  <a:pt x="1525522" y="939"/>
                </a:cubicBezTo>
                <a:close/>
              </a:path>
            </a:pathLst>
          </a:custGeom>
          <a:solidFill>
            <a:srgbClr val="02645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FECC8D7D-D2F0-CD26-73BC-A7CA9BA16676}"/>
              </a:ext>
            </a:extLst>
          </p:cNvPr>
          <p:cNvSpPr/>
          <p:nvPr/>
        </p:nvSpPr>
        <p:spPr>
          <a:xfrm>
            <a:off x="5475229" y="1"/>
            <a:ext cx="5887466" cy="6858001"/>
          </a:xfrm>
          <a:custGeom>
            <a:avLst/>
            <a:gdLst>
              <a:gd name="connsiteX0" fmla="*/ 196589 w 5887466"/>
              <a:gd name="connsiteY0" fmla="*/ 0 h 6858001"/>
              <a:gd name="connsiteX1" fmla="*/ 560075 w 5887466"/>
              <a:gd name="connsiteY1" fmla="*/ 0 h 6858001"/>
              <a:gd name="connsiteX2" fmla="*/ 498728 w 5887466"/>
              <a:gd name="connsiteY2" fmla="*/ 226261 h 6858001"/>
              <a:gd name="connsiteX3" fmla="*/ 389189 w 5887466"/>
              <a:gd name="connsiteY3" fmla="*/ 1179856 h 6858001"/>
              <a:gd name="connsiteX4" fmla="*/ 5727385 w 5887466"/>
              <a:gd name="connsiteY4" fmla="*/ 6809058 h 6858001"/>
              <a:gd name="connsiteX5" fmla="*/ 5887466 w 5887466"/>
              <a:gd name="connsiteY5" fmla="*/ 6858001 h 6858001"/>
              <a:gd name="connsiteX6" fmla="*/ 5210480 w 5887466"/>
              <a:gd name="connsiteY6" fmla="*/ 6858001 h 6858001"/>
              <a:gd name="connsiteX7" fmla="*/ 4950058 w 5887466"/>
              <a:gd name="connsiteY7" fmla="*/ 6768663 h 6858001"/>
              <a:gd name="connsiteX8" fmla="*/ 0 w 5887466"/>
              <a:gd name="connsiteY8" fmla="*/ 1271780 h 6858001"/>
              <a:gd name="connsiteX9" fmla="*/ 193145 w 5887466"/>
              <a:gd name="connsiteY9" fmla="*/ 982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87466" h="6858001">
                <a:moveTo>
                  <a:pt x="196589" y="0"/>
                </a:moveTo>
                <a:lnTo>
                  <a:pt x="560075" y="0"/>
                </a:lnTo>
                <a:lnTo>
                  <a:pt x="498728" y="226261"/>
                </a:lnTo>
                <a:cubicBezTo>
                  <a:pt x="426597" y="537191"/>
                  <a:pt x="389189" y="855646"/>
                  <a:pt x="389189" y="1179856"/>
                </a:cubicBezTo>
                <a:cubicBezTo>
                  <a:pt x="389189" y="3653224"/>
                  <a:pt x="2566412" y="5791654"/>
                  <a:pt x="5727385" y="6809058"/>
                </a:cubicBezTo>
                <a:lnTo>
                  <a:pt x="5887466" y="6858001"/>
                </a:lnTo>
                <a:lnTo>
                  <a:pt x="5210480" y="6858001"/>
                </a:lnTo>
                <a:lnTo>
                  <a:pt x="4950058" y="6768663"/>
                </a:lnTo>
                <a:cubicBezTo>
                  <a:pt x="2000370" y="5705621"/>
                  <a:pt x="0" y="3642566"/>
                  <a:pt x="0" y="1271780"/>
                </a:cubicBezTo>
                <a:cubicBezTo>
                  <a:pt x="0" y="839500"/>
                  <a:pt x="66504" y="417451"/>
                  <a:pt x="193145" y="9829"/>
                </a:cubicBez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4245B629-EC27-9DB1-A13A-04216D1A249D}"/>
              </a:ext>
            </a:extLst>
          </p:cNvPr>
          <p:cNvSpPr txBox="1">
            <a:spLocks/>
          </p:cNvSpPr>
          <p:nvPr/>
        </p:nvSpPr>
        <p:spPr>
          <a:xfrm>
            <a:off x="530085" y="2546357"/>
            <a:ext cx="4605508" cy="1107996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206C5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AHC Peak Design Worksho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0F389BE-67F3-16F7-DD07-07803E573981}"/>
              </a:ext>
            </a:extLst>
          </p:cNvPr>
          <p:cNvSpPr txBox="1"/>
          <p:nvPr/>
        </p:nvSpPr>
        <p:spPr>
          <a:xfrm>
            <a:off x="530084" y="3756699"/>
            <a:ext cx="576987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21 August 2024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79053F04-AA27-418E-848A-E94D5C5F5E44}"/>
              </a:ext>
            </a:extLst>
          </p:cNvPr>
          <p:cNvPicPr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50" b="-1"/>
          <a:stretch/>
        </p:blipFill>
        <p:spPr>
          <a:xfrm>
            <a:off x="530084" y="349877"/>
            <a:ext cx="1319188" cy="1405341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19E67B3F-1410-05E6-DBF3-850244E51B0F}"/>
              </a:ext>
            </a:extLst>
          </p:cNvPr>
          <p:cNvGrpSpPr/>
          <p:nvPr/>
        </p:nvGrpSpPr>
        <p:grpSpPr>
          <a:xfrm>
            <a:off x="2488198" y="4580066"/>
            <a:ext cx="3876714" cy="708879"/>
            <a:chOff x="1212850" y="-25023"/>
            <a:chExt cx="2425604" cy="443488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FAE51975-87CF-174E-F155-B23CF7CBF5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2850" y="69850"/>
              <a:ext cx="1365250" cy="3111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3D1035BB-4C8B-7CB3-DCAA-9C81CDD51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1139" y="-25023"/>
              <a:ext cx="867315" cy="44348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" name="Picture 2" descr="Afrique Magazine - Abidjan">
            <a:extLst>
              <a:ext uri="{FF2B5EF4-FFF2-40B4-BE49-F238E27FC236}">
                <a16:creationId xmlns:a16="http://schemas.microsoft.com/office/drawing/2014/main" id="{8DAD2A26-2C97-DA3C-BE82-98E4807446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61649" y="-54428"/>
            <a:ext cx="6179777" cy="6858000"/>
          </a:xfrm>
          <a:custGeom>
            <a:avLst/>
            <a:gdLst>
              <a:gd name="connsiteX0" fmla="*/ 163572 w 6130355"/>
              <a:gd name="connsiteY0" fmla="*/ 0 h 6749144"/>
              <a:gd name="connsiteX1" fmla="*/ 6130355 w 6130355"/>
              <a:gd name="connsiteY1" fmla="*/ 0 h 6749144"/>
              <a:gd name="connsiteX2" fmla="*/ 6130355 w 6130355"/>
              <a:gd name="connsiteY2" fmla="*/ 6749144 h 6749144"/>
              <a:gd name="connsiteX3" fmla="*/ 5933269 w 6130355"/>
              <a:gd name="connsiteY3" fmla="*/ 6716181 h 6749144"/>
              <a:gd name="connsiteX4" fmla="*/ 0 w 6130355"/>
              <a:gd name="connsiteY4" fmla="*/ 1164271 h 6749144"/>
              <a:gd name="connsiteX5" fmla="*/ 160707 w 6130355"/>
              <a:gd name="connsiteY5" fmla="*/ 8996 h 6749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30355" h="6749144">
                <a:moveTo>
                  <a:pt x="163572" y="0"/>
                </a:moveTo>
                <a:lnTo>
                  <a:pt x="6130355" y="0"/>
                </a:lnTo>
                <a:lnTo>
                  <a:pt x="6130355" y="6749144"/>
                </a:lnTo>
                <a:lnTo>
                  <a:pt x="5933269" y="6716181"/>
                </a:lnTo>
                <a:cubicBezTo>
                  <a:pt x="2521235" y="6079993"/>
                  <a:pt x="0" y="3835504"/>
                  <a:pt x="0" y="1164271"/>
                </a:cubicBezTo>
                <a:cubicBezTo>
                  <a:pt x="0" y="768533"/>
                  <a:pt x="55334" y="382161"/>
                  <a:pt x="160707" y="8996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D0B8169-5273-62D9-CE0F-70EA148861A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84" y="4478324"/>
            <a:ext cx="1721804" cy="912362"/>
          </a:xfrm>
          <a:prstGeom prst="rect">
            <a:avLst/>
          </a:prstGeom>
        </p:spPr>
      </p:pic>
      <p:pic>
        <p:nvPicPr>
          <p:cNvPr id="18436" name="Picture 4" descr="Niche Cocoa - Niche Cocoa added a new photo.">
            <a:extLst>
              <a:ext uri="{FF2B5EF4-FFF2-40B4-BE49-F238E27FC236}">
                <a16:creationId xmlns:a16="http://schemas.microsoft.com/office/drawing/2014/main" id="{F78127D5-BC01-42C1-BB27-F349928BAA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888" y="409491"/>
            <a:ext cx="1219448" cy="1219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88472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13F5F44-9B07-C7D9-8B98-210F99AA81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93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3F5F44-9B07-C7D9-8B98-210F99AA81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68C73E-144E-B8EE-B9EB-6CF7EE8A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 few “difficult” questions for you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5DCCC8-1473-632A-BF3A-C5859EF48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278C3-3159-471E-8033-DC41E6B3014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435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A37BF65-15A7-447F-A660-ABE969F6E4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972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37BF65-15A7-447F-A660-ABE969F6E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3B3624-59A6-D922-E4C1-48A9C06C8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orksheet: Defining our from…t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13743E-FEB5-40F2-BEEA-B9506FF61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278C3-3159-471E-8033-DC41E6B3014F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4CDBA77-CEE2-4F0C-8D5F-73F6729977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1916855"/>
              </p:ext>
            </p:extLst>
          </p:nvPr>
        </p:nvGraphicFramePr>
        <p:xfrm>
          <a:off x="402687" y="1013254"/>
          <a:ext cx="11386626" cy="53556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93995">
                  <a:extLst>
                    <a:ext uri="{9D8B030D-6E8A-4147-A177-3AD203B41FA5}">
                      <a16:colId xmlns:a16="http://schemas.microsoft.com/office/drawing/2014/main" val="4131996921"/>
                    </a:ext>
                  </a:extLst>
                </a:gridCol>
                <a:gridCol w="4810303">
                  <a:extLst>
                    <a:ext uri="{9D8B030D-6E8A-4147-A177-3AD203B41FA5}">
                      <a16:colId xmlns:a16="http://schemas.microsoft.com/office/drawing/2014/main" val="2969088830"/>
                    </a:ext>
                  </a:extLst>
                </a:gridCol>
                <a:gridCol w="5382328">
                  <a:extLst>
                    <a:ext uri="{9D8B030D-6E8A-4147-A177-3AD203B41FA5}">
                      <a16:colId xmlns:a16="http://schemas.microsoft.com/office/drawing/2014/main" val="2340725172"/>
                    </a:ext>
                  </a:extLst>
                </a:gridCol>
              </a:tblGrid>
              <a:tr h="40460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effectLst/>
                        </a:rPr>
                        <a:t>People Experienc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From (Current State)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To (Future State)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267364030"/>
                  </a:ext>
                </a:extLst>
              </a:tr>
              <a:tr h="49822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Employee Engagemen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Low levels of engagement across team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High engagement with consistent, transparent communication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1242891388"/>
                  </a:ext>
                </a:extLst>
              </a:tr>
              <a:tr h="62832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Leadership Developmen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Limited leadership development opportunitie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Robust leadership programs with clear pathways for growth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836824710"/>
                  </a:ext>
                </a:extLst>
              </a:tr>
              <a:tr h="49822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Company Culture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Reactive and inconsistent cultural initiative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Proactive, values-driven culture embedded in all operation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1499083169"/>
                  </a:ext>
                </a:extLst>
              </a:tr>
              <a:tr h="78715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Talent Acquisition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Recruitment based on immediate needs and short-term goal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Strategic hiring aligned with long-term company vision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1117788653"/>
                  </a:ext>
                </a:extLst>
              </a:tr>
              <a:tr h="4694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Employee Retention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High turnover rates in key department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Low turnover with strong retention strategie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4204781322"/>
                  </a:ext>
                </a:extLst>
              </a:tr>
              <a:tr h="62832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Performance Managemen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Annual reviews with limited real-time feedback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Continuous feedback and development-focused performance review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2746629952"/>
                  </a:ext>
                </a:extLst>
              </a:tr>
              <a:tr h="68012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Diversity &amp; Inclusion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Limited focus on diversity in recruitment and promotion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Diverse, inclusive workforce with equitable opportunitie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90521026"/>
                  </a:ext>
                </a:extLst>
              </a:tr>
              <a:tr h="62832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Learning &amp; Developmen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Ad-hoc and inconsistent training opportunitie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e.g. Continuous learning culture with accessible development resources</a:t>
                      </a:r>
                      <a:endParaRPr lang="en-GB" sz="140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13483309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33576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73BE3CA-4743-441C-A68C-B8C4EC0C14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401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3BE3CA-4743-441C-A68C-B8C4EC0C1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A71D10-5B90-3A23-3EED-8C7184535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C946B3-8F26-4A48-FE0F-0DC5B7531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278C3-3159-471E-8033-DC41E6B3014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6900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A37BF65-15A7-447F-A660-ABE969F6E4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37BF65-15A7-447F-A660-ABE969F6E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13743E-FEB5-40F2-BEEA-B9506FF6122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041188" y="6588125"/>
            <a:ext cx="150812" cy="152400"/>
          </a:xfrm>
        </p:spPr>
        <p:txBody>
          <a:bodyPr/>
          <a:lstStyle/>
          <a:p>
            <a:fld id="{27A278C3-3159-471E-8033-DC41E6B3014F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4CDBA77-CEE2-4F0C-8D5F-73F6729977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442845"/>
              </p:ext>
            </p:extLst>
          </p:nvPr>
        </p:nvGraphicFramePr>
        <p:xfrm>
          <a:off x="252248" y="181107"/>
          <a:ext cx="11676994" cy="63239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0431">
                  <a:extLst>
                    <a:ext uri="{9D8B030D-6E8A-4147-A177-3AD203B41FA5}">
                      <a16:colId xmlns:a16="http://schemas.microsoft.com/office/drawing/2014/main" val="4131996921"/>
                    </a:ext>
                  </a:extLst>
                </a:gridCol>
                <a:gridCol w="2381555">
                  <a:extLst>
                    <a:ext uri="{9D8B030D-6E8A-4147-A177-3AD203B41FA5}">
                      <a16:colId xmlns:a16="http://schemas.microsoft.com/office/drawing/2014/main" val="2969088830"/>
                    </a:ext>
                  </a:extLst>
                </a:gridCol>
                <a:gridCol w="3069021">
                  <a:extLst>
                    <a:ext uri="{9D8B030D-6E8A-4147-A177-3AD203B41FA5}">
                      <a16:colId xmlns:a16="http://schemas.microsoft.com/office/drawing/2014/main" val="2340725172"/>
                    </a:ext>
                  </a:extLst>
                </a:gridCol>
                <a:gridCol w="3058511">
                  <a:extLst>
                    <a:ext uri="{9D8B030D-6E8A-4147-A177-3AD203B41FA5}">
                      <a16:colId xmlns:a16="http://schemas.microsoft.com/office/drawing/2014/main" val="419747390"/>
                    </a:ext>
                  </a:extLst>
                </a:gridCol>
                <a:gridCol w="2007476">
                  <a:extLst>
                    <a:ext uri="{9D8B030D-6E8A-4147-A177-3AD203B41FA5}">
                      <a16:colId xmlns:a16="http://schemas.microsoft.com/office/drawing/2014/main" val="1030774178"/>
                    </a:ext>
                  </a:extLst>
                </a:gridCol>
              </a:tblGrid>
              <a:tr h="40176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People Experience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From (Current State)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To (Future State)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Action Steps (What should we do?)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Priority (Level of importance)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267364030"/>
                  </a:ext>
                </a:extLst>
              </a:tr>
              <a:tr h="64433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Employee Engagemen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1242891388"/>
                  </a:ext>
                </a:extLst>
              </a:tr>
              <a:tr h="71453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Leadership Developmen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836824710"/>
                  </a:ext>
                </a:extLst>
              </a:tr>
              <a:tr h="7112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Company Culture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1499083169"/>
                  </a:ext>
                </a:extLst>
              </a:tr>
              <a:tr h="76725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Talent Acquisition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1117788653"/>
                  </a:ext>
                </a:extLst>
              </a:tr>
              <a:tr h="6071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Employee Retention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4204781322"/>
                  </a:ext>
                </a:extLst>
              </a:tr>
              <a:tr h="81259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Performance Managemen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2746629952"/>
                  </a:ext>
                </a:extLst>
              </a:tr>
              <a:tr h="80842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Diversity &amp; Inclusion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90521026"/>
                  </a:ext>
                </a:extLst>
              </a:tr>
              <a:tr h="81259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</a:rPr>
                        <a:t>Learning &amp; Developmen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213" marR="16213" marT="0" marB="0"/>
                </a:tc>
                <a:extLst>
                  <a:ext uri="{0D108BD9-81ED-4DB2-BD59-A6C34878D82A}">
                    <a16:rowId xmlns:a16="http://schemas.microsoft.com/office/drawing/2014/main" val="13483309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56162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4" y="1588734"/>
            <a:ext cx="5408706" cy="33239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Long-term view: Definition of people vision</a:t>
            </a:r>
          </a:p>
        </p:txBody>
      </p:sp>
    </p:spTree>
    <p:extLst>
      <p:ext uri="{BB962C8B-B14F-4D97-AF65-F5344CB8AC3E}">
        <p14:creationId xmlns:p14="http://schemas.microsoft.com/office/powerpoint/2010/main" val="40772055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4" y="1754935"/>
            <a:ext cx="5408706" cy="29915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54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AHC Peak: Detailing the product vision for Niche Cocoa</a:t>
            </a:r>
          </a:p>
        </p:txBody>
      </p:sp>
    </p:spTree>
    <p:extLst>
      <p:ext uri="{BB962C8B-B14F-4D97-AF65-F5344CB8AC3E}">
        <p14:creationId xmlns:p14="http://schemas.microsoft.com/office/powerpoint/2010/main" val="34011835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28BD6B-35F6-CF57-4A28-4D750E5EC4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159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28BD6B-35F6-CF57-4A28-4D750E5EC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FBF3691-CB24-933A-1A51-6298A9C17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9" y="116727"/>
            <a:ext cx="11386626" cy="430887"/>
          </a:xfrm>
        </p:spPr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3C1A08-9C29-DEA0-AB5F-77C346389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A278C3-3159-471E-8033-DC41E6B301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44CDD4D6-3D61-8AF3-158C-DD713C47E8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3692069"/>
              </p:ext>
            </p:extLst>
          </p:nvPr>
        </p:nvGraphicFramePr>
        <p:xfrm>
          <a:off x="37069" y="547614"/>
          <a:ext cx="12117861" cy="56669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35232">
                  <a:extLst>
                    <a:ext uri="{9D8B030D-6E8A-4147-A177-3AD203B41FA5}">
                      <a16:colId xmlns:a16="http://schemas.microsoft.com/office/drawing/2014/main" val="3163775210"/>
                    </a:ext>
                  </a:extLst>
                </a:gridCol>
                <a:gridCol w="10082629">
                  <a:extLst>
                    <a:ext uri="{9D8B030D-6E8A-4147-A177-3AD203B41FA5}">
                      <a16:colId xmlns:a16="http://schemas.microsoft.com/office/drawing/2014/main" val="209564458"/>
                    </a:ext>
                  </a:extLst>
                </a:gridCol>
              </a:tblGrid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1: Strategic review | How AHC Peak can support Niche Cocoa’s people vision</a:t>
                      </a:r>
                      <a:endParaRPr lang="en-US" sz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796617"/>
                  </a:ext>
                </a:extLst>
              </a:tr>
              <a:tr h="400426">
                <a:tc>
                  <a:txBody>
                    <a:bodyPr/>
                    <a:lstStyle/>
                    <a:p>
                      <a:pPr marL="0" marR="0" indent="0" algn="just" defTabSz="914400" rtl="0" eaLnBrk="1" latinLnBrk="0" hangingPunct="1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08h30 – 09h00</a:t>
                      </a:r>
                      <a:endParaRPr lang="en-GB" sz="1100" b="1" kern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venir Next LT Pro" panose="020B05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Opening of workshop</a:t>
                      </a:r>
                    </a:p>
                    <a:p>
                      <a:pPr marL="0" marR="0" indent="0" algn="l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Welcome and introduction including a review of project roadmap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76276086"/>
                  </a:ext>
                </a:extLst>
              </a:tr>
              <a:tr h="391281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09h00 – 10h0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Niche People journey: Where we are and where we want to go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"From…to" exercise on how Niche people experience will shift in the next 5 years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0000544"/>
                  </a:ext>
                </a:extLst>
              </a:tr>
              <a:tr h="400426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0h00 – 10h30 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Long-term view: Definition of people vision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velopment of vision statement for the people of Niche Coco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21755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0h30 – 11h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AHC Peak: Detailing the product vision for Niche Cocoa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fining </a:t>
                      </a:r>
                      <a:r>
                        <a:rPr lang="en-US" sz="12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ornerstorners</a:t>
                      </a:r>
                      <a:r>
                        <a:rPr lang="en-US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 of Peak product vision, e.g. product name and overall target experienc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69016696"/>
                  </a:ext>
                </a:extLst>
              </a:tr>
              <a:tr h="176610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1h00 – 11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offee break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57585140"/>
                  </a:ext>
                </a:extLst>
              </a:tr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accent1"/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2: Content review | Detailing our training experience</a:t>
                      </a:r>
                      <a:endParaRPr lang="en-US" sz="1200" dirty="0">
                        <a:solidFill>
                          <a:schemeClr val="accent1"/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8814093"/>
                  </a:ext>
                </a:extLst>
              </a:tr>
              <a:tr h="338418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1h30 – 12h3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Skills Map: Finalizing our definition of top performance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Gallery walk of skills map by department with posters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39634900"/>
                  </a:ext>
                </a:extLst>
              </a:tr>
              <a:tr h="346035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2h30 – 13h0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urriculum development: Translating the skills map into trainings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different curriculum options and joint selection of best optio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33153778"/>
                  </a:ext>
                </a:extLst>
              </a:tr>
              <a:tr h="14978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3h00 – 14h0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Lunch break</a:t>
                      </a:r>
                      <a:endParaRPr lang="en-GB" sz="1200" dirty="0">
                        <a:solidFill>
                          <a:srgbClr val="000000"/>
                        </a:solidFill>
                        <a:effectLst/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4004535"/>
                  </a:ext>
                </a:extLst>
              </a:tr>
              <a:tr h="416245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4h00 – 14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Training journeys: Definition for different tiers of staff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velopment of 12-month training plans for 3 top tiers of staff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39000205"/>
                  </a:ext>
                </a:extLst>
              </a:tr>
              <a:tr h="375479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4h30 – 15h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Material mapping: Where are we with conten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Matching of existing training materials against full curriculum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48862682"/>
                  </a:ext>
                </a:extLst>
              </a:tr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3: Product review | Bringing our vision to life</a:t>
                      </a:r>
                      <a:endParaRPr lang="en-US" sz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4587892"/>
                  </a:ext>
                </a:extLst>
              </a:tr>
              <a:tr h="398534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5h00 – 15h45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Selection of training formats: How do we train which type of conten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Joint selection from a prepared list of training format options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68779219"/>
                  </a:ext>
                </a:extLst>
              </a:tr>
              <a:tr h="403309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5h45 – 16h3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features for launch: How do we maximize impac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iscussion of features available on AHC Peak and how Niche wants to use them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62884790"/>
                  </a:ext>
                </a:extLst>
              </a:tr>
              <a:tr h="19496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6h30 – 17h0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Evaluation mechanisms: How do we track performance and feedback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performance assessment on the platform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16070004"/>
                  </a:ext>
                </a:extLst>
              </a:tr>
              <a:tr h="19496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7h00 – 17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Wrap-up and next steps towards launch 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Agreement of way forward and target launch date + Communication pla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30135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98100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3" y="1173238"/>
            <a:ext cx="5356949" cy="415498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Skills Map: Finalizing our definition of top performance</a:t>
            </a:r>
          </a:p>
        </p:txBody>
      </p:sp>
    </p:spTree>
    <p:extLst>
      <p:ext uri="{BB962C8B-B14F-4D97-AF65-F5344CB8AC3E}">
        <p14:creationId xmlns:p14="http://schemas.microsoft.com/office/powerpoint/2010/main" val="17326315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501095" y="1110719"/>
            <a:ext cx="5356949" cy="415498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Curriculum development: Translating the skills map into trainings</a:t>
            </a:r>
          </a:p>
        </p:txBody>
      </p:sp>
    </p:spTree>
    <p:extLst>
      <p:ext uri="{BB962C8B-B14F-4D97-AF65-F5344CB8AC3E}">
        <p14:creationId xmlns:p14="http://schemas.microsoft.com/office/powerpoint/2010/main" val="14330503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3" y="1173238"/>
            <a:ext cx="5356949" cy="415498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Training journeys: Definition for different tiers of staff</a:t>
            </a:r>
          </a:p>
        </p:txBody>
      </p:sp>
    </p:spTree>
    <p:extLst>
      <p:ext uri="{BB962C8B-B14F-4D97-AF65-F5344CB8AC3E}">
        <p14:creationId xmlns:p14="http://schemas.microsoft.com/office/powerpoint/2010/main" val="3259451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B30E8EB-EC8C-369D-BF4A-F4F98D92D2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252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30E8EB-EC8C-369D-BF4A-F4F98D92D2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6655BC-F914-1B19-2E12-EF6341D85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hank you for making the time for this worksho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EFDE92-0262-DA4B-FD1D-C669E05E0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278C3-3159-471E-8033-DC41E6B301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8465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3" y="1588737"/>
            <a:ext cx="5356949" cy="33239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Material mapping: Where are we with content?</a:t>
            </a:r>
          </a:p>
        </p:txBody>
      </p:sp>
    </p:spTree>
    <p:extLst>
      <p:ext uri="{BB962C8B-B14F-4D97-AF65-F5344CB8AC3E}">
        <p14:creationId xmlns:p14="http://schemas.microsoft.com/office/powerpoint/2010/main" val="27451922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28BD6B-35F6-CF57-4A28-4D750E5EC4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7121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28BD6B-35F6-CF57-4A28-4D750E5EC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FBF3691-CB24-933A-1A51-6298A9C17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9" y="116727"/>
            <a:ext cx="11386626" cy="430887"/>
          </a:xfrm>
        </p:spPr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3C1A08-9C29-DEA0-AB5F-77C346389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A278C3-3159-471E-8033-DC41E6B301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44CDD4D6-3D61-8AF3-158C-DD713C47E8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2090203"/>
              </p:ext>
            </p:extLst>
          </p:nvPr>
        </p:nvGraphicFramePr>
        <p:xfrm>
          <a:off x="37069" y="547614"/>
          <a:ext cx="12117861" cy="56669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35232">
                  <a:extLst>
                    <a:ext uri="{9D8B030D-6E8A-4147-A177-3AD203B41FA5}">
                      <a16:colId xmlns:a16="http://schemas.microsoft.com/office/drawing/2014/main" val="3163775210"/>
                    </a:ext>
                  </a:extLst>
                </a:gridCol>
                <a:gridCol w="10082629">
                  <a:extLst>
                    <a:ext uri="{9D8B030D-6E8A-4147-A177-3AD203B41FA5}">
                      <a16:colId xmlns:a16="http://schemas.microsoft.com/office/drawing/2014/main" val="209564458"/>
                    </a:ext>
                  </a:extLst>
                </a:gridCol>
              </a:tblGrid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1: Strategic review | How AHC Peak can support Niche Cocoa’s people vision</a:t>
                      </a:r>
                      <a:endParaRPr lang="en-US" sz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796617"/>
                  </a:ext>
                </a:extLst>
              </a:tr>
              <a:tr h="400426">
                <a:tc>
                  <a:txBody>
                    <a:bodyPr/>
                    <a:lstStyle/>
                    <a:p>
                      <a:pPr marL="0" marR="0" indent="0" algn="just" defTabSz="914400" rtl="0" eaLnBrk="1" latinLnBrk="0" hangingPunct="1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b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08h30 – 09h00</a:t>
                      </a:r>
                      <a:endParaRPr lang="en-GB" sz="1100" b="1" kern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venir Next LT Pro" panose="020B05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Opening of workshop</a:t>
                      </a:r>
                    </a:p>
                    <a:p>
                      <a:pPr marL="0" marR="0" indent="0" algn="l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Welcome and introduction including a review of project roadmap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76276086"/>
                  </a:ext>
                </a:extLst>
              </a:tr>
              <a:tr h="391281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09h00 – 10h0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Niche People journey: Where we are and where we want to go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"From…to" exercise on how Niche people experience will shift in the next 5 years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0000544"/>
                  </a:ext>
                </a:extLst>
              </a:tr>
              <a:tr h="400426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0h00 – 10h30 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Long-term view: Definition of people vision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velopment of vision statement for the people of Niche Coco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21755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0h30 – 11h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AHC Peak: Detailing the product vision for Niche Cocoa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fining </a:t>
                      </a:r>
                      <a:r>
                        <a:rPr lang="en-US" sz="12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ornerstorners</a:t>
                      </a:r>
                      <a:r>
                        <a:rPr lang="en-US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 of Peak product vision, e.g. product name and overall target experienc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69016696"/>
                  </a:ext>
                </a:extLst>
              </a:tr>
              <a:tr h="176610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1h00 – 11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offee break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57585140"/>
                  </a:ext>
                </a:extLst>
              </a:tr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2: Content review | Detailing our training experience</a:t>
                      </a:r>
                      <a:endParaRPr lang="en-US" sz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8814093"/>
                  </a:ext>
                </a:extLst>
              </a:tr>
              <a:tr h="338418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1h30 – 12h3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Skills Map: Finalizing our definition of top performance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Gallery walk of skills map by department with posters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39634900"/>
                  </a:ext>
                </a:extLst>
              </a:tr>
              <a:tr h="346035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2h30 – 13h0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urriculum development: Translating the skills map into trainings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different curriculum options and joint selection of best optio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33153778"/>
                  </a:ext>
                </a:extLst>
              </a:tr>
              <a:tr h="14978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3h00 – 14h0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Lunch break</a:t>
                      </a:r>
                      <a:endParaRPr lang="en-GB" sz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4004535"/>
                  </a:ext>
                </a:extLst>
              </a:tr>
              <a:tr h="416245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4h00 – 14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Training journeys: Definition for different tiers of staff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velopment of 12-month training plans for 3 top tiers of staff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39000205"/>
                  </a:ext>
                </a:extLst>
              </a:tr>
              <a:tr h="375479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4h30 – 15h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Material mapping: Where are we with conten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Matching of existing training materials against full curriculum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48862682"/>
                  </a:ext>
                </a:extLst>
              </a:tr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accent1"/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3: Product review | Bringing our vision to life</a:t>
                      </a:r>
                      <a:endParaRPr lang="en-US" sz="1200" dirty="0">
                        <a:solidFill>
                          <a:schemeClr val="accent1"/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4587892"/>
                  </a:ext>
                </a:extLst>
              </a:tr>
              <a:tr h="398534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5h00 – 15h45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Selection of training formats: How do we train which type of conten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Joint selection from a prepared list of training format options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68779219"/>
                  </a:ext>
                </a:extLst>
              </a:tr>
              <a:tr h="403309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5h45 – 16h3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features for launch: How do we maximize impac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iscussion of features available on AHC Peak and how Niche wants to use them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62884790"/>
                  </a:ext>
                </a:extLst>
              </a:tr>
              <a:tr h="19496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6h30 – 17h0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Evaluation mechanisms: How do we track performance and feedback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performance assessment on the platform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16070004"/>
                  </a:ext>
                </a:extLst>
              </a:tr>
              <a:tr h="19496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7h00 – 17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Wrap-up and next steps towards launch 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Agreement of way forward and target launch date + Communication pla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30135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44537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3" y="757740"/>
            <a:ext cx="5356949" cy="498598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Selection of training formats: How do we train which type of content?</a:t>
            </a:r>
          </a:p>
        </p:txBody>
      </p:sp>
    </p:spTree>
    <p:extLst>
      <p:ext uri="{BB962C8B-B14F-4D97-AF65-F5344CB8AC3E}">
        <p14:creationId xmlns:p14="http://schemas.microsoft.com/office/powerpoint/2010/main" val="18795316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501095" y="695221"/>
            <a:ext cx="5356949" cy="498598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Review of features for launch: How do we maximize impact?</a:t>
            </a:r>
          </a:p>
        </p:txBody>
      </p:sp>
    </p:spTree>
    <p:extLst>
      <p:ext uri="{BB962C8B-B14F-4D97-AF65-F5344CB8AC3E}">
        <p14:creationId xmlns:p14="http://schemas.microsoft.com/office/powerpoint/2010/main" val="517345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3" y="342242"/>
            <a:ext cx="5356949" cy="58169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Evaluation mechanisms: How do we track performance and feedback?</a:t>
            </a:r>
          </a:p>
        </p:txBody>
      </p:sp>
    </p:spTree>
    <p:extLst>
      <p:ext uri="{BB962C8B-B14F-4D97-AF65-F5344CB8AC3E}">
        <p14:creationId xmlns:p14="http://schemas.microsoft.com/office/powerpoint/2010/main" val="20719197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3" y="1588737"/>
            <a:ext cx="5356949" cy="33239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Wrap-up and next steps towards launch </a:t>
            </a:r>
          </a:p>
        </p:txBody>
      </p:sp>
    </p:spTree>
    <p:extLst>
      <p:ext uri="{BB962C8B-B14F-4D97-AF65-F5344CB8AC3E}">
        <p14:creationId xmlns:p14="http://schemas.microsoft.com/office/powerpoint/2010/main" val="3242313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62CFA2-DDF4-12C9-429F-C453BFF94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353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62CFA2-DDF4-12C9-429F-C453BFF94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FBB2CCF-7991-A507-38A5-3BB1FFD19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3 things we are looking to achiev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13E4705-3195-9351-3794-41B70183D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278C3-3159-471E-8033-DC41E6B3014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407602-5ADB-3320-8B5F-FC8748C724F2}"/>
              </a:ext>
            </a:extLst>
          </p:cNvPr>
          <p:cNvSpPr txBox="1">
            <a:spLocks/>
          </p:cNvSpPr>
          <p:nvPr/>
        </p:nvSpPr>
        <p:spPr>
          <a:xfrm>
            <a:off x="1987719" y="1958694"/>
            <a:ext cx="9801594" cy="8617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1 | Explore the overarching people journey of Niche Cocoa and define how Niche Peak can enable i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905C28-998B-B177-3AD0-806CE8417201}"/>
              </a:ext>
            </a:extLst>
          </p:cNvPr>
          <p:cNvSpPr txBox="1">
            <a:spLocks/>
          </p:cNvSpPr>
          <p:nvPr/>
        </p:nvSpPr>
        <p:spPr>
          <a:xfrm>
            <a:off x="1987719" y="3411265"/>
            <a:ext cx="9801594" cy="8617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2 | Define a new way of learning and development for your entire staff pool based on the “talent bean”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11BC758-89FF-BE1B-EDEF-0144CC1226A5}"/>
              </a:ext>
            </a:extLst>
          </p:cNvPr>
          <p:cNvSpPr txBox="1">
            <a:spLocks/>
          </p:cNvSpPr>
          <p:nvPr/>
        </p:nvSpPr>
        <p:spPr>
          <a:xfrm>
            <a:off x="1987719" y="4703927"/>
            <a:ext cx="9801594" cy="8617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3 | Agree our launch plan and how we define success for the first phase of Niche Peak</a:t>
            </a:r>
          </a:p>
        </p:txBody>
      </p:sp>
    </p:spTree>
    <p:extLst>
      <p:ext uri="{BB962C8B-B14F-4D97-AF65-F5344CB8AC3E}">
        <p14:creationId xmlns:p14="http://schemas.microsoft.com/office/powerpoint/2010/main" val="2740147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160297-0019-477F-FBA1-63D5FC6F0B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824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160297-0019-477F-FBA1-63D5FC6F0B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7BD6C9-23B5-0992-6BC7-EB4771A6F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What was the “talent bean” again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D15E00-707D-F9E5-73CE-8C4D181F3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278C3-3159-471E-8033-DC41E6B301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4296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28BD6B-35F6-CF57-4A28-4D750E5EC4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257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28BD6B-35F6-CF57-4A28-4D750E5EC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FBF3691-CB24-933A-1A51-6298A9C17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9" y="116727"/>
            <a:ext cx="11386626" cy="430887"/>
          </a:xfrm>
        </p:spPr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3C1A08-9C29-DEA0-AB5F-77C346389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A278C3-3159-471E-8033-DC41E6B301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44CDD4D6-3D61-8AF3-158C-DD713C47E8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365996"/>
              </p:ext>
            </p:extLst>
          </p:nvPr>
        </p:nvGraphicFramePr>
        <p:xfrm>
          <a:off x="37069" y="547614"/>
          <a:ext cx="12117861" cy="56669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35232">
                  <a:extLst>
                    <a:ext uri="{9D8B030D-6E8A-4147-A177-3AD203B41FA5}">
                      <a16:colId xmlns:a16="http://schemas.microsoft.com/office/drawing/2014/main" val="3163775210"/>
                    </a:ext>
                  </a:extLst>
                </a:gridCol>
                <a:gridCol w="10082629">
                  <a:extLst>
                    <a:ext uri="{9D8B030D-6E8A-4147-A177-3AD203B41FA5}">
                      <a16:colId xmlns:a16="http://schemas.microsoft.com/office/drawing/2014/main" val="209564458"/>
                    </a:ext>
                  </a:extLst>
                </a:gridCol>
              </a:tblGrid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accent1"/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1: Strategic review | How AHC Peak can support Niche Cocoa’s people vision</a:t>
                      </a:r>
                      <a:endParaRPr lang="en-US" sz="1200" dirty="0">
                        <a:solidFill>
                          <a:schemeClr val="accent1"/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796617"/>
                  </a:ext>
                </a:extLst>
              </a:tr>
              <a:tr h="400426">
                <a:tc>
                  <a:txBody>
                    <a:bodyPr/>
                    <a:lstStyle/>
                    <a:p>
                      <a:pPr marL="0" marR="0" indent="0" algn="just" defTabSz="914400" rtl="0" eaLnBrk="1" latinLnBrk="0" hangingPunct="1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b="1" kern="12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08h30 – 09h00</a:t>
                      </a:r>
                      <a:endParaRPr lang="en-GB" sz="1100" b="1" kern="1200" dirty="0">
                        <a:solidFill>
                          <a:schemeClr val="bg1"/>
                        </a:solidFill>
                        <a:effectLst/>
                        <a:latin typeface="Avenir Next LT Pro" panose="020B05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Opening of workshop</a:t>
                      </a:r>
                    </a:p>
                    <a:p>
                      <a:pPr marL="0" marR="0" indent="0" algn="l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Welcome and introduction including a review of project roadmap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76276086"/>
                  </a:ext>
                </a:extLst>
              </a:tr>
              <a:tr h="391281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09h00 – 10h0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Niche People journey: Where we are and where we want to go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"From…to" exercise on how Niche people experience will shift in the next 5 years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0000544"/>
                  </a:ext>
                </a:extLst>
              </a:tr>
              <a:tr h="400426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0h00 – 10h30 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Long-term view: Definition of people vision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velopment of vision statement for the people of Niche Coco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21755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0h30 – 11h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AHC Peak: Detailing the product vision for Niche Cocoa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fining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ornerstorner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 of Peak product vision, e.g. product name and overall target experienc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69016696"/>
                  </a:ext>
                </a:extLst>
              </a:tr>
              <a:tr h="176610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1h00 – 11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offee break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57585140"/>
                  </a:ext>
                </a:extLst>
              </a:tr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accent1"/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2: Content review | Detailing our training experience</a:t>
                      </a:r>
                      <a:endParaRPr lang="en-US" sz="1200" dirty="0">
                        <a:solidFill>
                          <a:schemeClr val="accent1"/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8814093"/>
                  </a:ext>
                </a:extLst>
              </a:tr>
              <a:tr h="338418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1h30 – 12h3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Skills Map: Finalizing our definition of top performance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Gallery walk of skills map by department with posters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39634900"/>
                  </a:ext>
                </a:extLst>
              </a:tr>
              <a:tr h="346035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2h30 – 13h0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urriculum development: Translating the skills map into trainings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different curriculum options and joint selection of best optio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33153778"/>
                  </a:ext>
                </a:extLst>
              </a:tr>
              <a:tr h="14978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3h00 – 14h0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Lunch break</a:t>
                      </a:r>
                      <a:endParaRPr lang="en-GB" sz="1200" dirty="0">
                        <a:solidFill>
                          <a:srgbClr val="000000"/>
                        </a:solidFill>
                        <a:effectLst/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4004535"/>
                  </a:ext>
                </a:extLst>
              </a:tr>
              <a:tr h="416245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4h00 – 14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Training journeys: Definition for different tiers of staff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velopment of 12-month training plans for 3 top tiers of staff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39000205"/>
                  </a:ext>
                </a:extLst>
              </a:tr>
              <a:tr h="375479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4h30 – 15h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Material mapping: Where are we with conten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Matching of existing training materials against full curriculum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48862682"/>
                  </a:ext>
                </a:extLst>
              </a:tr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accent1"/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3: Product review | Bringing our vision to life</a:t>
                      </a:r>
                      <a:endParaRPr lang="en-US" sz="1200" dirty="0">
                        <a:solidFill>
                          <a:schemeClr val="accent1"/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4587892"/>
                  </a:ext>
                </a:extLst>
              </a:tr>
              <a:tr h="398534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5h00 – 15h45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Selection of training formats: How do we train which type of conten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Joint selection from a prepared list of training format options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68779219"/>
                  </a:ext>
                </a:extLst>
              </a:tr>
              <a:tr h="403309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5h45 – 16h3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features for launch: How do we maximize impac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iscussion of features available on AHC Peak and how Niche wants to use them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62884790"/>
                  </a:ext>
                </a:extLst>
              </a:tr>
              <a:tr h="19496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6h30 – 17h0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Evaluation mechanisms: How do we track performance and feedback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performance assessment on the platform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16070004"/>
                  </a:ext>
                </a:extLst>
              </a:tr>
              <a:tr h="19496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7h00 – 17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Wrap-up and next steps towards launch 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Agreement of way forward and target launch date + Communication pla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30135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7769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28BD6B-35F6-CF57-4A28-4D750E5EC4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4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28BD6B-35F6-CF57-4A28-4D750E5EC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FBF3691-CB24-933A-1A51-6298A9C17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29" y="116727"/>
            <a:ext cx="11386626" cy="430887"/>
          </a:xfrm>
        </p:spPr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3C1A08-9C29-DEA0-AB5F-77C346389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A278C3-3159-471E-8033-DC41E6B3014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44CDD4D6-3D61-8AF3-158C-DD713C47E8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7559437"/>
              </p:ext>
            </p:extLst>
          </p:nvPr>
        </p:nvGraphicFramePr>
        <p:xfrm>
          <a:off x="37069" y="547614"/>
          <a:ext cx="12117861" cy="56669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35232">
                  <a:extLst>
                    <a:ext uri="{9D8B030D-6E8A-4147-A177-3AD203B41FA5}">
                      <a16:colId xmlns:a16="http://schemas.microsoft.com/office/drawing/2014/main" val="3163775210"/>
                    </a:ext>
                  </a:extLst>
                </a:gridCol>
                <a:gridCol w="10082629">
                  <a:extLst>
                    <a:ext uri="{9D8B030D-6E8A-4147-A177-3AD203B41FA5}">
                      <a16:colId xmlns:a16="http://schemas.microsoft.com/office/drawing/2014/main" val="209564458"/>
                    </a:ext>
                  </a:extLst>
                </a:gridCol>
              </a:tblGrid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accent1"/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1: Strategic review | How AHC Peak can support Niche Cocoa’s people vision</a:t>
                      </a:r>
                      <a:endParaRPr lang="en-US" sz="1200" dirty="0">
                        <a:solidFill>
                          <a:schemeClr val="accent1"/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796617"/>
                  </a:ext>
                </a:extLst>
              </a:tr>
              <a:tr h="400426">
                <a:tc>
                  <a:txBody>
                    <a:bodyPr/>
                    <a:lstStyle/>
                    <a:p>
                      <a:pPr marL="0" marR="0" indent="0" algn="just" defTabSz="914400" rtl="0" eaLnBrk="1" latinLnBrk="0" hangingPunct="1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b="1" kern="12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  <a:cs typeface="+mn-cs"/>
                        </a:rPr>
                        <a:t>08h30 – 09h00</a:t>
                      </a:r>
                      <a:endParaRPr lang="en-GB" sz="1100" b="1" kern="1200" dirty="0">
                        <a:solidFill>
                          <a:schemeClr val="bg1"/>
                        </a:solidFill>
                        <a:effectLst/>
                        <a:latin typeface="Avenir Next LT Pro" panose="020B05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Opening of workshop</a:t>
                      </a:r>
                    </a:p>
                    <a:p>
                      <a:pPr marL="0" marR="0" indent="0" algn="l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Welcome and introduction including a review of project roadmap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76276086"/>
                  </a:ext>
                </a:extLst>
              </a:tr>
              <a:tr h="391281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09h00 – 10h00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Niche People journey: Where we are and where we want to go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"From…to" exercise on how Niche people experience will shift in the next 5 years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0000544"/>
                  </a:ext>
                </a:extLst>
              </a:tr>
              <a:tr h="400426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0h00 – 10h30 </a:t>
                      </a:r>
                      <a:endParaRPr lang="en-GB" sz="11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Long-term view: Definition of people vision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velopment of vision statement for the people of Niche Coco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21755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0h30 – 11h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AHC Peak: Detailing the product vision for Niche Cocoa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fining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ornerstorner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 of Peak product vision, e.g. product name and overall target experienc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69016696"/>
                  </a:ext>
                </a:extLst>
              </a:tr>
              <a:tr h="176610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1h00 – 11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offee break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57585140"/>
                  </a:ext>
                </a:extLst>
              </a:tr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2: Content review | Detailing our training experience</a:t>
                      </a:r>
                      <a:endParaRPr lang="en-US" sz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8814093"/>
                  </a:ext>
                </a:extLst>
              </a:tr>
              <a:tr h="338418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1h30 – 12h3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Skills Map: Finalizing our definition of top performance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Gallery walk of skills map by department with posters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39634900"/>
                  </a:ext>
                </a:extLst>
              </a:tr>
              <a:tr h="346035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2h30 – 13h0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Curriculum development: Translating the skills map into trainings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different curriculum options and joint selection of best optio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33153778"/>
                  </a:ext>
                </a:extLst>
              </a:tr>
              <a:tr h="14978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3h00 – 14h0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Lunch break</a:t>
                      </a:r>
                      <a:endParaRPr lang="en-GB" sz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4004535"/>
                  </a:ext>
                </a:extLst>
              </a:tr>
              <a:tr h="416245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4h00 – 14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Training journeys: Definition for different tiers of staff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evelopment of 12-month training plans for 3 top tiers of staff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39000205"/>
                  </a:ext>
                </a:extLst>
              </a:tr>
              <a:tr h="375479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4h30 – 15h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Material mapping: Where are we with conten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Matching of existing training materials against full curriculum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48862682"/>
                  </a:ext>
                </a:extLst>
              </a:tr>
              <a:tr h="194967">
                <a:tc gridSpan="2">
                  <a:txBody>
                    <a:bodyPr/>
                    <a:lstStyle/>
                    <a:p>
                      <a:pPr marL="6350" indent="-6350" algn="just">
                        <a:lnSpc>
                          <a:spcPct val="108000"/>
                        </a:lnSpc>
                      </a:pPr>
                      <a:r>
                        <a:rPr lang="en-ZA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highlight>
                            <a:srgbClr val="FFFFCC"/>
                          </a:highlight>
                          <a:latin typeface="Avenir Next LT Pro" panose="020B0504020202020204" pitchFamily="34" charset="0"/>
                        </a:rPr>
                        <a:t>Part 3: Product review | Bringing our vision to life</a:t>
                      </a:r>
                      <a:endParaRPr lang="en-US" sz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highlight>
                          <a:srgbClr val="FFFFCC"/>
                        </a:highlight>
                        <a:latin typeface="Avenir Next LT Pro" panose="020B05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4276" marR="64276" marT="0" marB="0"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4587892"/>
                  </a:ext>
                </a:extLst>
              </a:tr>
              <a:tr h="398534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5h00 – 15h45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Selection of training formats: How do we train which type of conten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Joint selection from a prepared list of training format options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68779219"/>
                  </a:ext>
                </a:extLst>
              </a:tr>
              <a:tr h="403309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5h45 – 16h3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features for launch: How do we maximize impact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Discussion of features available on AHC Peak and how Niche wants to use them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62884790"/>
                  </a:ext>
                </a:extLst>
              </a:tr>
              <a:tr h="19496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6h30 – 17h00</a:t>
                      </a:r>
                      <a:endParaRPr lang="en-GB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Evaluation mechanisms: How do we track performance and feedback?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Review of performance assessment on the platform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16070004"/>
                  </a:ext>
                </a:extLst>
              </a:tr>
              <a:tr h="194967"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17h00 – 17h3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Wrap-up and next steps towards launch </a:t>
                      </a:r>
                    </a:p>
                    <a:p>
                      <a:pPr marL="0" marR="0" indent="0" algn="just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venir Next LT Pro" panose="020B0504020202020204" pitchFamily="34" charset="0"/>
                          <a:ea typeface="Times New Roman" panose="02020603050405020304" pitchFamily="18" charset="0"/>
                        </a:rPr>
                        <a:t>Agreement of way forward and target launch date + Communication pla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30135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95818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4" y="2419728"/>
            <a:ext cx="5068047" cy="16619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elcome and introduction</a:t>
            </a:r>
          </a:p>
        </p:txBody>
      </p:sp>
    </p:spTree>
    <p:extLst>
      <p:ext uri="{BB962C8B-B14F-4D97-AF65-F5344CB8AC3E}">
        <p14:creationId xmlns:p14="http://schemas.microsoft.com/office/powerpoint/2010/main" val="21895244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87813DD-7706-8B10-F783-CD1D87E058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87813DD-7706-8B10-F783-CD1D87E05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Abidjan | Port Bouet, Plateau, Cocody, &amp; Map | Britannica">
            <a:extLst>
              <a:ext uri="{FF2B5EF4-FFF2-40B4-BE49-F238E27FC236}">
                <a16:creationId xmlns:a16="http://schemas.microsoft.com/office/drawing/2014/main" id="{D92876B2-4ADE-3970-613A-9570B7058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0"/>
            <a:ext cx="102647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2D69FA5-7B4A-96C0-8112-22ABA535B5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F3F3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33">
            <a:extLst>
              <a:ext uri="{FF2B5EF4-FFF2-40B4-BE49-F238E27FC236}">
                <a16:creationId xmlns:a16="http://schemas.microsoft.com/office/drawing/2014/main" id="{D058AB47-B995-BF7B-C59A-AF527ABBF051}"/>
              </a:ext>
            </a:extLst>
          </p:cNvPr>
          <p:cNvSpPr/>
          <p:nvPr/>
        </p:nvSpPr>
        <p:spPr>
          <a:xfrm>
            <a:off x="0" y="375920"/>
            <a:ext cx="639461" cy="734799"/>
          </a:xfrm>
          <a:custGeom>
            <a:avLst/>
            <a:gdLst>
              <a:gd name="connsiteX0" fmla="*/ 0 w 711200"/>
              <a:gd name="connsiteY0" fmla="*/ 0 h 1498600"/>
              <a:gd name="connsiteX1" fmla="*/ 711200 w 711200"/>
              <a:gd name="connsiteY1" fmla="*/ 0 h 1498600"/>
              <a:gd name="connsiteX2" fmla="*/ 711200 w 711200"/>
              <a:gd name="connsiteY2" fmla="*/ 1498600 h 1498600"/>
              <a:gd name="connsiteX3" fmla="*/ 0 w 711200"/>
              <a:gd name="connsiteY3" fmla="*/ 1498600 h 1498600"/>
              <a:gd name="connsiteX4" fmla="*/ 0 w 711200"/>
              <a:gd name="connsiteY4" fmla="*/ 0 h 1498600"/>
              <a:gd name="connsiteX0" fmla="*/ 0 w 1145540"/>
              <a:gd name="connsiteY0" fmla="*/ 0 h 1498600"/>
              <a:gd name="connsiteX1" fmla="*/ 711200 w 1145540"/>
              <a:gd name="connsiteY1" fmla="*/ 0 h 1498600"/>
              <a:gd name="connsiteX2" fmla="*/ 1145540 w 1145540"/>
              <a:gd name="connsiteY2" fmla="*/ 1140460 h 1498600"/>
              <a:gd name="connsiteX3" fmla="*/ 0 w 1145540"/>
              <a:gd name="connsiteY3" fmla="*/ 1498600 h 1498600"/>
              <a:gd name="connsiteX4" fmla="*/ 0 w 1145540"/>
              <a:gd name="connsiteY4" fmla="*/ 0 h 1498600"/>
              <a:gd name="connsiteX0" fmla="*/ 0 w 1397000"/>
              <a:gd name="connsiteY0" fmla="*/ 106680 h 1605280"/>
              <a:gd name="connsiteX1" fmla="*/ 1397000 w 1397000"/>
              <a:gd name="connsiteY1" fmla="*/ 0 h 1605280"/>
              <a:gd name="connsiteX2" fmla="*/ 1145540 w 1397000"/>
              <a:gd name="connsiteY2" fmla="*/ 1247140 h 1605280"/>
              <a:gd name="connsiteX3" fmla="*/ 0 w 1397000"/>
              <a:gd name="connsiteY3" fmla="*/ 1605280 h 1605280"/>
              <a:gd name="connsiteX4" fmla="*/ 0 w 1397000"/>
              <a:gd name="connsiteY4" fmla="*/ 10668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7000" h="1605280">
                <a:moveTo>
                  <a:pt x="0" y="106680"/>
                </a:moveTo>
                <a:lnTo>
                  <a:pt x="1397000" y="0"/>
                </a:lnTo>
                <a:lnTo>
                  <a:pt x="1145540" y="1247140"/>
                </a:lnTo>
                <a:lnTo>
                  <a:pt x="0" y="1605280"/>
                </a:lnTo>
                <a:lnTo>
                  <a:pt x="0" y="1066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Next LT Pro Bold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768B6E07-5059-A6DF-84E5-88F3BDD2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8016" y="184752"/>
            <a:ext cx="1777142" cy="65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1139F27-7E10-336B-2E63-D85FFA19E6BE}"/>
              </a:ext>
            </a:extLst>
          </p:cNvPr>
          <p:cNvSpPr/>
          <p:nvPr/>
        </p:nvSpPr>
        <p:spPr>
          <a:xfrm>
            <a:off x="0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9162 w 7111783"/>
              <a:gd name="connsiteY1" fmla="*/ 0 h 6858000"/>
              <a:gd name="connsiteX2" fmla="*/ 5701598 w 7111783"/>
              <a:gd name="connsiteY2" fmla="*/ 146189 h 6858000"/>
              <a:gd name="connsiteX3" fmla="*/ 7111783 w 7111783"/>
              <a:gd name="connsiteY3" fmla="*/ 3483434 h 6858000"/>
              <a:gd name="connsiteX4" fmla="*/ 5701598 w 7111783"/>
              <a:gd name="connsiteY4" fmla="*/ 6820679 h 6858000"/>
              <a:gd name="connsiteX5" fmla="*/ 5662682 w 7111783"/>
              <a:gd name="connsiteY5" fmla="*/ 6858000 h 6858000"/>
              <a:gd name="connsiteX6" fmla="*/ 0 w 711178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9162" y="0"/>
                </a:lnTo>
                <a:lnTo>
                  <a:pt x="5701598" y="146189"/>
                </a:lnTo>
                <a:cubicBezTo>
                  <a:pt x="6577770" y="1027617"/>
                  <a:pt x="7111783" y="2198505"/>
                  <a:pt x="7111783" y="3483434"/>
                </a:cubicBezTo>
                <a:cubicBezTo>
                  <a:pt x="7111783" y="4768364"/>
                  <a:pt x="6577770" y="5939252"/>
                  <a:pt x="5701598" y="6820679"/>
                </a:cubicBezTo>
                <a:lnTo>
                  <a:pt x="566268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DBC41A6-BE89-B48E-6E1C-27EA07C53A66}"/>
              </a:ext>
            </a:extLst>
          </p:cNvPr>
          <p:cNvSpPr/>
          <p:nvPr/>
        </p:nvSpPr>
        <p:spPr>
          <a:xfrm>
            <a:off x="1" y="0"/>
            <a:ext cx="7111783" cy="6858000"/>
          </a:xfrm>
          <a:custGeom>
            <a:avLst/>
            <a:gdLst>
              <a:gd name="connsiteX0" fmla="*/ 0 w 7111783"/>
              <a:gd name="connsiteY0" fmla="*/ 0 h 6858000"/>
              <a:gd name="connsiteX1" fmla="*/ 5545312 w 7111783"/>
              <a:gd name="connsiteY1" fmla="*/ 0 h 6858000"/>
              <a:gd name="connsiteX2" fmla="*/ 5702680 w 7111783"/>
              <a:gd name="connsiteY2" fmla="*/ 139366 h 6858000"/>
              <a:gd name="connsiteX3" fmla="*/ 7111783 w 7111783"/>
              <a:gd name="connsiteY3" fmla="*/ 3429014 h 6858000"/>
              <a:gd name="connsiteX4" fmla="*/ 3725454 w 7111783"/>
              <a:gd name="connsiteY4" fmla="*/ 6858000 h 6858000"/>
              <a:gd name="connsiteX5" fmla="*/ 0 w 711178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1783" h="6858000">
                <a:moveTo>
                  <a:pt x="0" y="0"/>
                </a:moveTo>
                <a:lnTo>
                  <a:pt x="5545312" y="0"/>
                </a:lnTo>
                <a:lnTo>
                  <a:pt x="5702680" y="139366"/>
                </a:lnTo>
                <a:cubicBezTo>
                  <a:pt x="6585585" y="981094"/>
                  <a:pt x="7111783" y="2161912"/>
                  <a:pt x="7111783" y="3429014"/>
                </a:cubicBezTo>
                <a:lnTo>
                  <a:pt x="37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01F27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C653AE16-338D-B85D-EB0F-A06123271422}"/>
              </a:ext>
            </a:extLst>
          </p:cNvPr>
          <p:cNvSpPr txBox="1">
            <a:spLocks/>
          </p:cNvSpPr>
          <p:nvPr/>
        </p:nvSpPr>
        <p:spPr>
          <a:xfrm>
            <a:off x="687294" y="1380987"/>
            <a:ext cx="5068047" cy="373948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5400" b="1" dirty="0">
                <a:solidFill>
                  <a:prstClr val="white"/>
                </a:solidFill>
                <a:latin typeface="Avenir Next LT Pro" panose="020B0504020202020204" pitchFamily="34" charset="0"/>
              </a:rPr>
              <a:t>Niche People journey: Where we are and where we want to go</a:t>
            </a:r>
          </a:p>
        </p:txBody>
      </p:sp>
    </p:spTree>
    <p:extLst>
      <p:ext uri="{BB962C8B-B14F-4D97-AF65-F5344CB8AC3E}">
        <p14:creationId xmlns:p14="http://schemas.microsoft.com/office/powerpoint/2010/main" val="2765605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B30E8EB-EC8C-369D-BF4A-F4F98D92D2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4281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30E8EB-EC8C-369D-BF4A-F4F98D92D2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6655BC-F914-1B19-2E12-EF6341D85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hy do we need to define our people journey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EFDE92-0262-DA4B-FD1D-C669E05E0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A278C3-3159-471E-8033-DC41E6B301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336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bd_rJSS4F_D88.PGw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bd_rJSS4F_D88.PGw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bd_rJSS4F_D88.PGw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bd_rJSS4F_D88.PGw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bd_rJSS4F_D88.PGw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gaxTodI16bNmQX75DR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gaxTodI16bNmQX75DR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gaxTodI16bNmQX75DR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gaxTodI16bNmQX75DRz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gaxTodI16bNmQX75DR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yY8qEXOIckvDoPJQ3H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BreC32NLWNMvhszHYi.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BreC32NLWNMvhszHYi.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YGFSxRuOKgP5XfTQV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bd_rJSS4F_D88.PGw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bd_rJSS4F_D88.PGw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bd_rJSS4F_D88.PGwrA"/>
</p:tagLst>
</file>

<file path=ppt/theme/theme1.xml><?xml version="1.0" encoding="utf-8"?>
<a:theme xmlns:a="http://schemas.openxmlformats.org/drawingml/2006/main" name="4_Office Theme">
  <a:themeElements>
    <a:clrScheme name="Custom 13">
      <a:dk1>
        <a:sysClr val="windowText" lastClr="000000"/>
      </a:dk1>
      <a:lt1>
        <a:sysClr val="window" lastClr="FFFFFF"/>
      </a:lt1>
      <a:dk2>
        <a:srgbClr val="3F3F3F"/>
      </a:dk2>
      <a:lt2>
        <a:srgbClr val="EEECE1"/>
      </a:lt2>
      <a:accent1>
        <a:srgbClr val="37877A"/>
      </a:accent1>
      <a:accent2>
        <a:srgbClr val="DB222A"/>
      </a:accent2>
      <a:accent3>
        <a:srgbClr val="02659A"/>
      </a:accent3>
      <a:accent4>
        <a:srgbClr val="FFBB00"/>
      </a:accent4>
      <a:accent5>
        <a:srgbClr val="7F7F7F"/>
      </a:accent5>
      <a:accent6>
        <a:srgbClr val="3F3F3F"/>
      </a:accent6>
      <a:hlink>
        <a:srgbClr val="3F3F3F"/>
      </a:hlink>
      <a:folHlink>
        <a:srgbClr val="800080"/>
      </a:folHlink>
    </a:clrScheme>
    <a:fontScheme name="Benutzerdefiniert 1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7e02d85-2c45-4aa0-b4ef-0e29500d228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F9A2B2F4DE9B47B7D590464A3EEFDC" ma:contentTypeVersion="17" ma:contentTypeDescription="Create a new document." ma:contentTypeScope="" ma:versionID="c7e89fe4e11dacbc622da811e94cbabd">
  <xsd:schema xmlns:xsd="http://www.w3.org/2001/XMLSchema" xmlns:xs="http://www.w3.org/2001/XMLSchema" xmlns:p="http://schemas.microsoft.com/office/2006/metadata/properties" xmlns:ns3="67e02d85-2c45-4aa0-b4ef-0e29500d2283" xmlns:ns4="10d6cc0f-bf03-4f3d-a312-62dd7a0a5668" targetNamespace="http://schemas.microsoft.com/office/2006/metadata/properties" ma:root="true" ma:fieldsID="468cbdc807895fc0e8edcf27eb1ff55d" ns3:_="" ns4:_="">
    <xsd:import namespace="67e02d85-2c45-4aa0-b4ef-0e29500d2283"/>
    <xsd:import namespace="10d6cc0f-bf03-4f3d-a312-62dd7a0a566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e02d85-2c45-4aa0-b4ef-0e29500d22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3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d6cc0f-bf03-4f3d-a312-62dd7a0a566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48E773-63A1-45DE-A7FF-3CF3D9F700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FE5FE5-94E9-4BA2-8B51-6100356A3182}">
  <ds:schemaRefs>
    <ds:schemaRef ds:uri="http://www.w3.org/XML/1998/namespac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10d6cc0f-bf03-4f3d-a312-62dd7a0a5668"/>
    <ds:schemaRef ds:uri="http://schemas.microsoft.com/office/infopath/2007/PartnerControls"/>
    <ds:schemaRef ds:uri="67e02d85-2c45-4aa0-b4ef-0e29500d2283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B7662DD-400F-4622-A119-BA8F17676B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7e02d85-2c45-4aa0-b4ef-0e29500d2283"/>
    <ds:schemaRef ds:uri="10d6cc0f-bf03-4f3d-a312-62dd7a0a56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01</Words>
  <Application>Microsoft Office PowerPoint</Application>
  <PresentationFormat>Widescreen</PresentationFormat>
  <Paragraphs>251</Paragraphs>
  <Slides>25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6" baseType="lpstr">
      <vt:lpstr>4_Office Theme</vt:lpstr>
      <vt:lpstr>PowerPoint Presentation</vt:lpstr>
      <vt:lpstr>Thank you for making the time for this workshop</vt:lpstr>
      <vt:lpstr>3 things we are looking to achieve</vt:lpstr>
      <vt:lpstr>What was the “talent bean” again?</vt:lpstr>
      <vt:lpstr>Agenda</vt:lpstr>
      <vt:lpstr>Agenda</vt:lpstr>
      <vt:lpstr>PowerPoint Presentation</vt:lpstr>
      <vt:lpstr>PowerPoint Presentation</vt:lpstr>
      <vt:lpstr>Why do we need to define our people journey?</vt:lpstr>
      <vt:lpstr>A few “difficult” questions for you</vt:lpstr>
      <vt:lpstr>Worksheet: Defining our from…to</vt:lpstr>
      <vt:lpstr>PowerPoint Presentation</vt:lpstr>
      <vt:lpstr>PowerPoint Presentation</vt:lpstr>
      <vt:lpstr>PowerPoint Presentation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unmise Olabiyi</dc:creator>
  <cp:lastModifiedBy>Yasmin Kumi</cp:lastModifiedBy>
  <cp:revision>6</cp:revision>
  <dcterms:created xsi:type="dcterms:W3CDTF">2024-08-15T09:08:51Z</dcterms:created>
  <dcterms:modified xsi:type="dcterms:W3CDTF">2024-09-13T14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F9A2B2F4DE9B47B7D590464A3EEFDC</vt:lpwstr>
  </property>
</Properties>
</file>